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1" r:id="rId1"/>
    <p:sldMasterId id="2147483676" r:id="rId2"/>
    <p:sldMasterId id="2147483705" r:id="rId3"/>
    <p:sldMasterId id="2147483736" r:id="rId4"/>
    <p:sldMasterId id="2147483743" r:id="rId5"/>
  </p:sldMasterIdLst>
  <p:notesMasterIdLst>
    <p:notesMasterId r:id="rId7"/>
  </p:notesMasterIdLst>
  <p:sldIdLst>
    <p:sldId id="336" r:id="rId6"/>
  </p:sldIdLst>
  <p:sldSz cx="12192000" cy="50399950"/>
  <p:notesSz cx="6858000" cy="9144000"/>
  <p:custDataLst>
    <p:tags r:id="rId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04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587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anhao LH13 Zhang" initials="LLZ" lastIdx="1" clrIdx="0">
    <p:extLst>
      <p:ext uri="{19B8F6BF-5375-455C-9EA6-DF929625EA0E}">
        <p15:presenceInfo xmlns:p15="http://schemas.microsoft.com/office/powerpoint/2012/main" userId="S::zhanglh13@Lenovo.com::00907aa8-64a9-4c76-b3a8-1eb4e0e70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A00"/>
    <a:srgbClr val="0000FF"/>
    <a:srgbClr val="FFD13F"/>
    <a:srgbClr val="FFC000"/>
    <a:srgbClr val="D4C60C"/>
    <a:srgbClr val="006794"/>
    <a:srgbClr val="E3E3E3"/>
    <a:srgbClr val="D44318"/>
    <a:srgbClr val="BFBFBF"/>
    <a:srgbClr val="004F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859" autoAdjust="0"/>
    <p:restoredTop sz="96391" autoAdjust="0"/>
  </p:normalViewPr>
  <p:slideViewPr>
    <p:cSldViewPr snapToGrid="0">
      <p:cViewPr>
        <p:scale>
          <a:sx n="100" d="100"/>
          <a:sy n="100" d="100"/>
        </p:scale>
        <p:origin x="1572" y="-17898"/>
      </p:cViewPr>
      <p:guideLst>
        <p:guide orient="horz" pos="16044"/>
        <p:guide pos="3840"/>
        <p:guide orient="horz" pos="1587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014663" y="685800"/>
            <a:ext cx="8286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Arial" panose="020B0604020202020204" pitchFamily="34" charset="0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microsoft.com/office/2007/relationships/hdphoto" Target="../media/hdphoto1.wd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microsoft.com/office/2007/relationships/hdphoto" Target="../media/hdphoto1.wdp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opening presentation 02" userDrawn="1">
  <p:cSld name="Cov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569DF2-CA65-4D92-931B-6EF17FF21C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2745305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569DF2-CA65-4D92-931B-6EF17FF21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oogle Shape;106;p23">
            <a:extLst>
              <a:ext uri="{FF2B5EF4-FFF2-40B4-BE49-F238E27FC236}">
                <a16:creationId xmlns:a16="http://schemas.microsoft.com/office/drawing/2014/main" id="{50653F07-0F5A-4423-9660-071D4FC352B0}"/>
              </a:ext>
            </a:extLst>
          </p:cNvPr>
          <p:cNvPicPr preferRelativeResize="0"/>
          <p:nvPr userDrawn="1"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4"/>
            <a:ext cx="12192000" cy="504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5;p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36900" y="17603000"/>
            <a:ext cx="2068902" cy="1519396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2592667" y="18916568"/>
            <a:ext cx="8989800" cy="5220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title" idx="2"/>
          </p:nvPr>
        </p:nvSpPr>
        <p:spPr>
          <a:xfrm>
            <a:off x="2592667" y="26375386"/>
            <a:ext cx="8989800" cy="5220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19" name="Google Shape;19;p3"/>
          <p:cNvSpPr/>
          <p:nvPr/>
        </p:nvSpPr>
        <p:spPr>
          <a:xfrm>
            <a:off x="0" y="3"/>
            <a:ext cx="949124" cy="697518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Google Shape;17;p3">
            <a:extLst>
              <a:ext uri="{FF2B5EF4-FFF2-40B4-BE49-F238E27FC236}">
                <a16:creationId xmlns:a16="http://schemas.microsoft.com/office/drawing/2014/main" id="{20DF1F25-8708-451B-85D8-093D92309EC4}"/>
              </a:ext>
            </a:extLst>
          </p:cNvPr>
          <p:cNvSpPr/>
          <p:nvPr userDrawn="1"/>
        </p:nvSpPr>
        <p:spPr>
          <a:xfrm>
            <a:off x="2298800" y="18891530"/>
            <a:ext cx="29600" cy="12616892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594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MainLanovo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797794-0C82-4CF0-BC7F-A0F4C0244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9505732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797794-0C82-4CF0-BC7F-A0F4C0244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B1811D8-E849-4ACA-8446-F6E2FD56C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2522138"/>
            <a:ext cx="10751226" cy="282621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D8C7066-4E9D-4AEE-AAF8-7646E37837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38BEB-90F1-4764-A5E7-B2957856B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52">
            <a:extLst>
              <a:ext uri="{FF2B5EF4-FFF2-40B4-BE49-F238E27FC236}">
                <a16:creationId xmlns:a16="http://schemas.microsoft.com/office/drawing/2014/main" id="{D0A0BE6D-6D41-46E4-9814-DA70C447C1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9636" y="10817380"/>
            <a:ext cx="10751226" cy="333278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lang="en-US" sz="1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marL="225425" lvl="0" indent="-225425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edit Master text styles</a:t>
            </a:r>
          </a:p>
          <a:p>
            <a:pPr marL="461963" lvl="1" indent="-236538">
              <a:buClr>
                <a:schemeClr val="tx1"/>
              </a:buClr>
              <a:buFont typeface="Arial" panose="020B0604020202020204" pitchFamily="34" charset="0"/>
              <a:buChar char="−"/>
            </a:pPr>
            <a:r>
              <a:rPr lang="en-US" dirty="0"/>
              <a:t>Second</a:t>
            </a:r>
          </a:p>
          <a:p>
            <a:pPr marL="688975" lvl="2" indent="-227013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3340918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8" userDrawn="1">
          <p15:clr>
            <a:srgbClr val="FA7B17"/>
          </p15:clr>
        </p15:guide>
        <p15:guide id="2" pos="4992" userDrawn="1">
          <p15:clr>
            <a:srgbClr val="FA7B17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ContentLenovo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8A0EFE-ECA9-4BD0-8104-2E6FC3D56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307022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8A0EFE-ECA9-4BD0-8104-2E6FC3D56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43D8763-2686-439C-ADD8-BEF823686552}"/>
              </a:ext>
            </a:extLst>
          </p:cNvPr>
          <p:cNvSpPr/>
          <p:nvPr userDrawn="1"/>
        </p:nvSpPr>
        <p:spPr>
          <a:xfrm>
            <a:off x="0" y="4"/>
            <a:ext cx="802640" cy="6085326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B1811D8-E849-4ACA-8446-F6E2FD56C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2522138"/>
            <a:ext cx="10751226" cy="2826218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96973D0-1672-4A99-A2A0-D4EB7C5B45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92352449-8281-454C-97D1-ABDFCCE9772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65958" y="2513593"/>
            <a:ext cx="385731" cy="2834766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rgbClr val="6F717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9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EC554F8-4913-4407-B22C-070F3C274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52">
            <a:extLst>
              <a:ext uri="{FF2B5EF4-FFF2-40B4-BE49-F238E27FC236}">
                <a16:creationId xmlns:a16="http://schemas.microsoft.com/office/drawing/2014/main" id="{2BFB7EA0-8709-4F89-A4DB-CB282D06B7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9636" y="10817380"/>
            <a:ext cx="10751226" cy="333278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lang="en-US" sz="1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marL="225425" lvl="0" indent="-225425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edit Master text styles</a:t>
            </a:r>
          </a:p>
          <a:p>
            <a:pPr marL="461963" lvl="1" indent="-236538">
              <a:buClr>
                <a:schemeClr val="tx1"/>
              </a:buClr>
              <a:buFont typeface="Arial" panose="020B0604020202020204" pitchFamily="34" charset="0"/>
              <a:buChar char="−"/>
            </a:pPr>
            <a:r>
              <a:rPr lang="en-US" dirty="0"/>
              <a:t>Second</a:t>
            </a:r>
          </a:p>
          <a:p>
            <a:pPr marL="688975" lvl="2" indent="-227013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597201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8" userDrawn="1">
          <p15:clr>
            <a:srgbClr val="FA7B17"/>
          </p15:clr>
        </p15:guide>
        <p15:guide id="2" pos="4992" userDrawn="1">
          <p15:clr>
            <a:srgbClr val="FA7B17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motorola" preserve="1">
  <p:cSld name="7_motorola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C452AB0-435A-4B1E-BD81-6A41BFC8D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276086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C452AB0-435A-4B1E-BD81-6A41BFC8D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6" name="Google Shape;106;p23"/>
          <p:cNvPicPr preferRelativeResize="0"/>
          <p:nvPr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4"/>
            <a:ext cx="12192000" cy="504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23"/>
          <p:cNvSpPr/>
          <p:nvPr/>
        </p:nvSpPr>
        <p:spPr>
          <a:xfrm>
            <a:off x="-1" y="3"/>
            <a:ext cx="1022385" cy="69439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9" name="Google Shape;109;p2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980667" y="17483222"/>
            <a:ext cx="6230667" cy="154337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95965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hank you" preserve="1">
  <p:cSld name="ThankyouLenovo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858ECD-B995-4425-B91D-E1ED09149E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6504421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F858ECD-B995-4425-B91D-E1ED091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803AD8F9-4B29-4EF4-90D3-9853175C7730}"/>
              </a:ext>
            </a:extLst>
          </p:cNvPr>
          <p:cNvGrpSpPr/>
          <p:nvPr userDrawn="1"/>
        </p:nvGrpSpPr>
        <p:grpSpPr>
          <a:xfrm rot="16200000">
            <a:off x="-21110488" y="24420951"/>
            <a:ext cx="50386824" cy="1544890"/>
            <a:chOff x="541049" y="2649538"/>
            <a:chExt cx="9285724" cy="2092325"/>
          </a:xfrm>
          <a:solidFill>
            <a:schemeClr val="tx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48ADA314-D4B2-4E51-9763-616418C468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1049" y="2809876"/>
              <a:ext cx="963613" cy="1928813"/>
            </a:xfrm>
            <a:custGeom>
              <a:avLst/>
              <a:gdLst>
                <a:gd name="T0" fmla="*/ 57 w 301"/>
                <a:gd name="T1" fmla="*/ 458 h 600"/>
                <a:gd name="T2" fmla="*/ 57 w 301"/>
                <a:gd name="T3" fmla="*/ 235 h 600"/>
                <a:gd name="T4" fmla="*/ 0 w 301"/>
                <a:gd name="T5" fmla="*/ 235 h 600"/>
                <a:gd name="T6" fmla="*/ 0 w 301"/>
                <a:gd name="T7" fmla="*/ 121 h 600"/>
                <a:gd name="T8" fmla="*/ 57 w 301"/>
                <a:gd name="T9" fmla="*/ 121 h 600"/>
                <a:gd name="T10" fmla="*/ 57 w 301"/>
                <a:gd name="T11" fmla="*/ 0 h 600"/>
                <a:gd name="T12" fmla="*/ 190 w 301"/>
                <a:gd name="T13" fmla="*/ 0 h 600"/>
                <a:gd name="T14" fmla="*/ 190 w 301"/>
                <a:gd name="T15" fmla="*/ 121 h 600"/>
                <a:gd name="T16" fmla="*/ 301 w 301"/>
                <a:gd name="T17" fmla="*/ 121 h 600"/>
                <a:gd name="T18" fmla="*/ 301 w 301"/>
                <a:gd name="T19" fmla="*/ 235 h 600"/>
                <a:gd name="T20" fmla="*/ 190 w 301"/>
                <a:gd name="T21" fmla="*/ 235 h 600"/>
                <a:gd name="T22" fmla="*/ 190 w 301"/>
                <a:gd name="T23" fmla="*/ 436 h 600"/>
                <a:gd name="T24" fmla="*/ 233 w 301"/>
                <a:gd name="T25" fmla="*/ 482 h 600"/>
                <a:gd name="T26" fmla="*/ 299 w 301"/>
                <a:gd name="T27" fmla="*/ 465 h 600"/>
                <a:gd name="T28" fmla="*/ 299 w 301"/>
                <a:gd name="T29" fmla="*/ 573 h 600"/>
                <a:gd name="T30" fmla="*/ 194 w 301"/>
                <a:gd name="T31" fmla="*/ 600 h 600"/>
                <a:gd name="T32" fmla="*/ 57 w 301"/>
                <a:gd name="T33" fmla="*/ 458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1" h="600">
                  <a:moveTo>
                    <a:pt x="57" y="458"/>
                  </a:moveTo>
                  <a:cubicBezTo>
                    <a:pt x="57" y="235"/>
                    <a:pt x="57" y="235"/>
                    <a:pt x="57" y="235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57" y="121"/>
                    <a:pt x="57" y="121"/>
                    <a:pt x="57" y="12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301" y="121"/>
                    <a:pt x="301" y="121"/>
                    <a:pt x="301" y="121"/>
                  </a:cubicBezTo>
                  <a:cubicBezTo>
                    <a:pt x="301" y="235"/>
                    <a:pt x="301" y="235"/>
                    <a:pt x="301" y="235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90" y="436"/>
                    <a:pt x="190" y="436"/>
                    <a:pt x="190" y="436"/>
                  </a:cubicBezTo>
                  <a:cubicBezTo>
                    <a:pt x="190" y="467"/>
                    <a:pt x="203" y="482"/>
                    <a:pt x="233" y="482"/>
                  </a:cubicBezTo>
                  <a:cubicBezTo>
                    <a:pt x="258" y="482"/>
                    <a:pt x="280" y="476"/>
                    <a:pt x="299" y="465"/>
                  </a:cubicBezTo>
                  <a:cubicBezTo>
                    <a:pt x="299" y="573"/>
                    <a:pt x="299" y="573"/>
                    <a:pt x="299" y="573"/>
                  </a:cubicBezTo>
                  <a:cubicBezTo>
                    <a:pt x="271" y="590"/>
                    <a:pt x="239" y="600"/>
                    <a:pt x="194" y="600"/>
                  </a:cubicBezTo>
                  <a:cubicBezTo>
                    <a:pt x="112" y="600"/>
                    <a:pt x="57" y="568"/>
                    <a:pt x="57" y="4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4A1CE32-105B-489A-A343-10350524EA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8151" y="2649538"/>
              <a:ext cx="1382713" cy="2063750"/>
            </a:xfrm>
            <a:custGeom>
              <a:avLst/>
              <a:gdLst>
                <a:gd name="T0" fmla="*/ 0 w 432"/>
                <a:gd name="T1" fmla="*/ 0 h 642"/>
                <a:gd name="T2" fmla="*/ 134 w 432"/>
                <a:gd name="T3" fmla="*/ 0 h 642"/>
                <a:gd name="T4" fmla="*/ 134 w 432"/>
                <a:gd name="T5" fmla="*/ 237 h 642"/>
                <a:gd name="T6" fmla="*/ 272 w 432"/>
                <a:gd name="T7" fmla="*/ 162 h 642"/>
                <a:gd name="T8" fmla="*/ 432 w 432"/>
                <a:gd name="T9" fmla="*/ 337 h 642"/>
                <a:gd name="T10" fmla="*/ 432 w 432"/>
                <a:gd name="T11" fmla="*/ 642 h 642"/>
                <a:gd name="T12" fmla="*/ 298 w 432"/>
                <a:gd name="T13" fmla="*/ 642 h 642"/>
                <a:gd name="T14" fmla="*/ 298 w 432"/>
                <a:gd name="T15" fmla="*/ 379 h 642"/>
                <a:gd name="T16" fmla="*/ 218 w 432"/>
                <a:gd name="T17" fmla="*/ 283 h 642"/>
                <a:gd name="T18" fmla="*/ 134 w 432"/>
                <a:gd name="T19" fmla="*/ 379 h 642"/>
                <a:gd name="T20" fmla="*/ 134 w 432"/>
                <a:gd name="T21" fmla="*/ 642 h 642"/>
                <a:gd name="T22" fmla="*/ 0 w 432"/>
                <a:gd name="T23" fmla="*/ 642 h 642"/>
                <a:gd name="T24" fmla="*/ 0 w 432"/>
                <a:gd name="T25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2" h="642">
                  <a:moveTo>
                    <a:pt x="0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65" y="198"/>
                    <a:pt x="204" y="162"/>
                    <a:pt x="272" y="162"/>
                  </a:cubicBezTo>
                  <a:cubicBezTo>
                    <a:pt x="373" y="162"/>
                    <a:pt x="432" y="229"/>
                    <a:pt x="432" y="337"/>
                  </a:cubicBezTo>
                  <a:cubicBezTo>
                    <a:pt x="432" y="642"/>
                    <a:pt x="432" y="642"/>
                    <a:pt x="432" y="642"/>
                  </a:cubicBezTo>
                  <a:cubicBezTo>
                    <a:pt x="298" y="642"/>
                    <a:pt x="298" y="642"/>
                    <a:pt x="298" y="642"/>
                  </a:cubicBezTo>
                  <a:cubicBezTo>
                    <a:pt x="298" y="379"/>
                    <a:pt x="298" y="379"/>
                    <a:pt x="298" y="379"/>
                  </a:cubicBezTo>
                  <a:cubicBezTo>
                    <a:pt x="298" y="316"/>
                    <a:pt x="269" y="283"/>
                    <a:pt x="218" y="283"/>
                  </a:cubicBezTo>
                  <a:cubicBezTo>
                    <a:pt x="166" y="283"/>
                    <a:pt x="134" y="316"/>
                    <a:pt x="134" y="379"/>
                  </a:cubicBezTo>
                  <a:cubicBezTo>
                    <a:pt x="134" y="642"/>
                    <a:pt x="134" y="642"/>
                    <a:pt x="134" y="642"/>
                  </a:cubicBezTo>
                  <a:cubicBezTo>
                    <a:pt x="0" y="642"/>
                    <a:pt x="0" y="642"/>
                    <a:pt x="0" y="64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9E27773B-9339-470D-8D61-75FC254526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61304" y="3179763"/>
              <a:ext cx="1390650" cy="1562100"/>
            </a:xfrm>
            <a:custGeom>
              <a:avLst/>
              <a:gdLst>
                <a:gd name="T0" fmla="*/ 0 w 434"/>
                <a:gd name="T1" fmla="*/ 342 h 486"/>
                <a:gd name="T2" fmla="*/ 0 w 434"/>
                <a:gd name="T3" fmla="*/ 340 h 486"/>
                <a:gd name="T4" fmla="*/ 190 w 434"/>
                <a:gd name="T5" fmla="*/ 189 h 486"/>
                <a:gd name="T6" fmla="*/ 305 w 434"/>
                <a:gd name="T7" fmla="*/ 209 h 486"/>
                <a:gd name="T8" fmla="*/ 305 w 434"/>
                <a:gd name="T9" fmla="*/ 201 h 486"/>
                <a:gd name="T10" fmla="*/ 204 w 434"/>
                <a:gd name="T11" fmla="*/ 115 h 486"/>
                <a:gd name="T12" fmla="*/ 74 w 434"/>
                <a:gd name="T13" fmla="*/ 140 h 486"/>
                <a:gd name="T14" fmla="*/ 40 w 434"/>
                <a:gd name="T15" fmla="*/ 38 h 486"/>
                <a:gd name="T16" fmla="*/ 223 w 434"/>
                <a:gd name="T17" fmla="*/ 0 h 486"/>
                <a:gd name="T18" fmla="*/ 383 w 434"/>
                <a:gd name="T19" fmla="*/ 53 h 486"/>
                <a:gd name="T20" fmla="*/ 434 w 434"/>
                <a:gd name="T21" fmla="*/ 204 h 486"/>
                <a:gd name="T22" fmla="*/ 434 w 434"/>
                <a:gd name="T23" fmla="*/ 477 h 486"/>
                <a:gd name="T24" fmla="*/ 304 w 434"/>
                <a:gd name="T25" fmla="*/ 477 h 486"/>
                <a:gd name="T26" fmla="*/ 304 w 434"/>
                <a:gd name="T27" fmla="*/ 426 h 486"/>
                <a:gd name="T28" fmla="*/ 162 w 434"/>
                <a:gd name="T29" fmla="*/ 486 h 486"/>
                <a:gd name="T30" fmla="*/ 0 w 434"/>
                <a:gd name="T31" fmla="*/ 342 h 486"/>
                <a:gd name="T32" fmla="*/ 307 w 434"/>
                <a:gd name="T33" fmla="*/ 311 h 486"/>
                <a:gd name="T34" fmla="*/ 307 w 434"/>
                <a:gd name="T35" fmla="*/ 287 h 486"/>
                <a:gd name="T36" fmla="*/ 222 w 434"/>
                <a:gd name="T37" fmla="*/ 270 h 486"/>
                <a:gd name="T38" fmla="*/ 129 w 434"/>
                <a:gd name="T39" fmla="*/ 335 h 486"/>
                <a:gd name="T40" fmla="*/ 129 w 434"/>
                <a:gd name="T41" fmla="*/ 336 h 486"/>
                <a:gd name="T42" fmla="*/ 202 w 434"/>
                <a:gd name="T43" fmla="*/ 394 h 486"/>
                <a:gd name="T44" fmla="*/ 307 w 434"/>
                <a:gd name="T45" fmla="*/ 31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4" h="486">
                  <a:moveTo>
                    <a:pt x="0" y="342"/>
                  </a:moveTo>
                  <a:cubicBezTo>
                    <a:pt x="0" y="340"/>
                    <a:pt x="0" y="340"/>
                    <a:pt x="0" y="340"/>
                  </a:cubicBezTo>
                  <a:cubicBezTo>
                    <a:pt x="0" y="237"/>
                    <a:pt x="78" y="189"/>
                    <a:pt x="190" y="189"/>
                  </a:cubicBezTo>
                  <a:cubicBezTo>
                    <a:pt x="237" y="189"/>
                    <a:pt x="272" y="197"/>
                    <a:pt x="305" y="209"/>
                  </a:cubicBezTo>
                  <a:cubicBezTo>
                    <a:pt x="305" y="201"/>
                    <a:pt x="305" y="201"/>
                    <a:pt x="305" y="201"/>
                  </a:cubicBezTo>
                  <a:cubicBezTo>
                    <a:pt x="305" y="145"/>
                    <a:pt x="271" y="115"/>
                    <a:pt x="204" y="115"/>
                  </a:cubicBezTo>
                  <a:cubicBezTo>
                    <a:pt x="153" y="115"/>
                    <a:pt x="117" y="124"/>
                    <a:pt x="74" y="140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92" y="15"/>
                    <a:pt x="143" y="0"/>
                    <a:pt x="223" y="0"/>
                  </a:cubicBezTo>
                  <a:cubicBezTo>
                    <a:pt x="296" y="0"/>
                    <a:pt x="349" y="20"/>
                    <a:pt x="383" y="53"/>
                  </a:cubicBezTo>
                  <a:cubicBezTo>
                    <a:pt x="418" y="88"/>
                    <a:pt x="434" y="140"/>
                    <a:pt x="434" y="204"/>
                  </a:cubicBezTo>
                  <a:cubicBezTo>
                    <a:pt x="434" y="477"/>
                    <a:pt x="434" y="477"/>
                    <a:pt x="434" y="477"/>
                  </a:cubicBezTo>
                  <a:cubicBezTo>
                    <a:pt x="304" y="477"/>
                    <a:pt x="304" y="477"/>
                    <a:pt x="304" y="477"/>
                  </a:cubicBezTo>
                  <a:cubicBezTo>
                    <a:pt x="304" y="426"/>
                    <a:pt x="304" y="426"/>
                    <a:pt x="304" y="426"/>
                  </a:cubicBezTo>
                  <a:cubicBezTo>
                    <a:pt x="272" y="462"/>
                    <a:pt x="227" y="486"/>
                    <a:pt x="162" y="486"/>
                  </a:cubicBezTo>
                  <a:cubicBezTo>
                    <a:pt x="73" y="486"/>
                    <a:pt x="0" y="435"/>
                    <a:pt x="0" y="342"/>
                  </a:cubicBezTo>
                  <a:close/>
                  <a:moveTo>
                    <a:pt x="307" y="311"/>
                  </a:moveTo>
                  <a:cubicBezTo>
                    <a:pt x="307" y="287"/>
                    <a:pt x="307" y="287"/>
                    <a:pt x="307" y="287"/>
                  </a:cubicBezTo>
                  <a:cubicBezTo>
                    <a:pt x="284" y="277"/>
                    <a:pt x="254" y="270"/>
                    <a:pt x="222" y="270"/>
                  </a:cubicBezTo>
                  <a:cubicBezTo>
                    <a:pt x="164" y="270"/>
                    <a:pt x="129" y="292"/>
                    <a:pt x="129" y="335"/>
                  </a:cubicBezTo>
                  <a:cubicBezTo>
                    <a:pt x="129" y="336"/>
                    <a:pt x="129" y="336"/>
                    <a:pt x="129" y="336"/>
                  </a:cubicBezTo>
                  <a:cubicBezTo>
                    <a:pt x="129" y="372"/>
                    <a:pt x="159" y="394"/>
                    <a:pt x="202" y="394"/>
                  </a:cubicBezTo>
                  <a:cubicBezTo>
                    <a:pt x="265" y="394"/>
                    <a:pt x="307" y="359"/>
                    <a:pt x="307" y="3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BA4801EB-9990-4354-A88F-572DEE942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9916" y="3170238"/>
              <a:ext cx="1384300" cy="1543050"/>
            </a:xfrm>
            <a:custGeom>
              <a:avLst/>
              <a:gdLst>
                <a:gd name="T0" fmla="*/ 0 w 432"/>
                <a:gd name="T1" fmla="*/ 9 h 480"/>
                <a:gd name="T2" fmla="*/ 133 w 432"/>
                <a:gd name="T3" fmla="*/ 9 h 480"/>
                <a:gd name="T4" fmla="*/ 133 w 432"/>
                <a:gd name="T5" fmla="*/ 75 h 480"/>
                <a:gd name="T6" fmla="*/ 272 w 432"/>
                <a:gd name="T7" fmla="*/ 0 h 480"/>
                <a:gd name="T8" fmla="*/ 432 w 432"/>
                <a:gd name="T9" fmla="*/ 175 h 480"/>
                <a:gd name="T10" fmla="*/ 432 w 432"/>
                <a:gd name="T11" fmla="*/ 480 h 480"/>
                <a:gd name="T12" fmla="*/ 298 w 432"/>
                <a:gd name="T13" fmla="*/ 480 h 480"/>
                <a:gd name="T14" fmla="*/ 298 w 432"/>
                <a:gd name="T15" fmla="*/ 217 h 480"/>
                <a:gd name="T16" fmla="*/ 217 w 432"/>
                <a:gd name="T17" fmla="*/ 121 h 480"/>
                <a:gd name="T18" fmla="*/ 133 w 432"/>
                <a:gd name="T19" fmla="*/ 217 h 480"/>
                <a:gd name="T20" fmla="*/ 133 w 432"/>
                <a:gd name="T21" fmla="*/ 480 h 480"/>
                <a:gd name="T22" fmla="*/ 0 w 432"/>
                <a:gd name="T23" fmla="*/ 480 h 480"/>
                <a:gd name="T24" fmla="*/ 0 w 432"/>
                <a:gd name="T25" fmla="*/ 9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2" h="480">
                  <a:moveTo>
                    <a:pt x="0" y="9"/>
                  </a:moveTo>
                  <a:cubicBezTo>
                    <a:pt x="133" y="9"/>
                    <a:pt x="133" y="9"/>
                    <a:pt x="133" y="9"/>
                  </a:cubicBezTo>
                  <a:cubicBezTo>
                    <a:pt x="133" y="75"/>
                    <a:pt x="133" y="75"/>
                    <a:pt x="133" y="75"/>
                  </a:cubicBezTo>
                  <a:cubicBezTo>
                    <a:pt x="164" y="36"/>
                    <a:pt x="204" y="0"/>
                    <a:pt x="272" y="0"/>
                  </a:cubicBezTo>
                  <a:cubicBezTo>
                    <a:pt x="373" y="0"/>
                    <a:pt x="432" y="67"/>
                    <a:pt x="432" y="175"/>
                  </a:cubicBezTo>
                  <a:cubicBezTo>
                    <a:pt x="432" y="480"/>
                    <a:pt x="432" y="480"/>
                    <a:pt x="432" y="480"/>
                  </a:cubicBezTo>
                  <a:cubicBezTo>
                    <a:pt x="298" y="480"/>
                    <a:pt x="298" y="480"/>
                    <a:pt x="298" y="480"/>
                  </a:cubicBezTo>
                  <a:cubicBezTo>
                    <a:pt x="298" y="217"/>
                    <a:pt x="298" y="217"/>
                    <a:pt x="298" y="217"/>
                  </a:cubicBezTo>
                  <a:cubicBezTo>
                    <a:pt x="298" y="154"/>
                    <a:pt x="268" y="121"/>
                    <a:pt x="217" y="121"/>
                  </a:cubicBezTo>
                  <a:cubicBezTo>
                    <a:pt x="166" y="121"/>
                    <a:pt x="133" y="154"/>
                    <a:pt x="133" y="217"/>
                  </a:cubicBezTo>
                  <a:cubicBezTo>
                    <a:pt x="133" y="480"/>
                    <a:pt x="133" y="480"/>
                    <a:pt x="133" y="480"/>
                  </a:cubicBezTo>
                  <a:cubicBezTo>
                    <a:pt x="0" y="480"/>
                    <a:pt x="0" y="480"/>
                    <a:pt x="0" y="480"/>
                  </a:cubicBez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51864A91-331E-49CC-B1C1-6A3AECDE1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593" y="2649538"/>
              <a:ext cx="1460500" cy="2063750"/>
            </a:xfrm>
            <a:custGeom>
              <a:avLst/>
              <a:gdLst>
                <a:gd name="T0" fmla="*/ 0 w 920"/>
                <a:gd name="T1" fmla="*/ 0 h 1300"/>
                <a:gd name="T2" fmla="*/ 270 w 920"/>
                <a:gd name="T3" fmla="*/ 0 h 1300"/>
                <a:gd name="T4" fmla="*/ 270 w 920"/>
                <a:gd name="T5" fmla="*/ 692 h 1300"/>
                <a:gd name="T6" fmla="*/ 585 w 920"/>
                <a:gd name="T7" fmla="*/ 346 h 1300"/>
                <a:gd name="T8" fmla="*/ 908 w 920"/>
                <a:gd name="T9" fmla="*/ 346 h 1300"/>
                <a:gd name="T10" fmla="*/ 547 w 920"/>
                <a:gd name="T11" fmla="*/ 721 h 1300"/>
                <a:gd name="T12" fmla="*/ 920 w 920"/>
                <a:gd name="T13" fmla="*/ 1300 h 1300"/>
                <a:gd name="T14" fmla="*/ 609 w 920"/>
                <a:gd name="T15" fmla="*/ 1300 h 1300"/>
                <a:gd name="T16" fmla="*/ 365 w 920"/>
                <a:gd name="T17" fmla="*/ 909 h 1300"/>
                <a:gd name="T18" fmla="*/ 270 w 920"/>
                <a:gd name="T19" fmla="*/ 1010 h 1300"/>
                <a:gd name="T20" fmla="*/ 270 w 920"/>
                <a:gd name="T21" fmla="*/ 1300 h 1300"/>
                <a:gd name="T22" fmla="*/ 0 w 920"/>
                <a:gd name="T23" fmla="*/ 1300 h 1300"/>
                <a:gd name="T24" fmla="*/ 0 w 920"/>
                <a:gd name="T25" fmla="*/ 0 h 1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0" h="1300">
                  <a:moveTo>
                    <a:pt x="0" y="0"/>
                  </a:moveTo>
                  <a:lnTo>
                    <a:pt x="270" y="0"/>
                  </a:lnTo>
                  <a:lnTo>
                    <a:pt x="270" y="692"/>
                  </a:lnTo>
                  <a:lnTo>
                    <a:pt x="585" y="346"/>
                  </a:lnTo>
                  <a:lnTo>
                    <a:pt x="908" y="346"/>
                  </a:lnTo>
                  <a:lnTo>
                    <a:pt x="547" y="721"/>
                  </a:lnTo>
                  <a:lnTo>
                    <a:pt x="920" y="1300"/>
                  </a:lnTo>
                  <a:lnTo>
                    <a:pt x="609" y="1300"/>
                  </a:lnTo>
                  <a:lnTo>
                    <a:pt x="365" y="909"/>
                  </a:lnTo>
                  <a:lnTo>
                    <a:pt x="270" y="1010"/>
                  </a:lnTo>
                  <a:lnTo>
                    <a:pt x="270" y="1300"/>
                  </a:lnTo>
                  <a:lnTo>
                    <a:pt x="0" y="13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9FEDB68F-643E-4836-AEB4-50009A0DB1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9896" y="3173413"/>
              <a:ext cx="1227138" cy="1568450"/>
            </a:xfrm>
            <a:custGeom>
              <a:avLst/>
              <a:gdLst>
                <a:gd name="T0" fmla="*/ 0 w 383"/>
                <a:gd name="T1" fmla="*/ 417 h 488"/>
                <a:gd name="T2" fmla="*/ 57 w 383"/>
                <a:gd name="T3" fmla="*/ 329 h 488"/>
                <a:gd name="T4" fmla="*/ 206 w 383"/>
                <a:gd name="T5" fmla="*/ 385 h 488"/>
                <a:gd name="T6" fmla="*/ 262 w 383"/>
                <a:gd name="T7" fmla="*/ 350 h 488"/>
                <a:gd name="T8" fmla="*/ 262 w 383"/>
                <a:gd name="T9" fmla="*/ 348 h 488"/>
                <a:gd name="T10" fmla="*/ 165 w 383"/>
                <a:gd name="T11" fmla="*/ 294 h 488"/>
                <a:gd name="T12" fmla="*/ 24 w 383"/>
                <a:gd name="T13" fmla="*/ 152 h 488"/>
                <a:gd name="T14" fmla="*/ 24 w 383"/>
                <a:gd name="T15" fmla="*/ 150 h 488"/>
                <a:gd name="T16" fmla="*/ 196 w 383"/>
                <a:gd name="T17" fmla="*/ 0 h 488"/>
                <a:gd name="T18" fmla="*/ 372 w 383"/>
                <a:gd name="T19" fmla="*/ 55 h 488"/>
                <a:gd name="T20" fmla="*/ 321 w 383"/>
                <a:gd name="T21" fmla="*/ 147 h 488"/>
                <a:gd name="T22" fmla="*/ 194 w 383"/>
                <a:gd name="T23" fmla="*/ 103 h 488"/>
                <a:gd name="T24" fmla="*/ 144 w 383"/>
                <a:gd name="T25" fmla="*/ 136 h 488"/>
                <a:gd name="T26" fmla="*/ 144 w 383"/>
                <a:gd name="T27" fmla="*/ 138 h 488"/>
                <a:gd name="T28" fmla="*/ 240 w 383"/>
                <a:gd name="T29" fmla="*/ 194 h 488"/>
                <a:gd name="T30" fmla="*/ 383 w 383"/>
                <a:gd name="T31" fmla="*/ 334 h 488"/>
                <a:gd name="T32" fmla="*/ 383 w 383"/>
                <a:gd name="T33" fmla="*/ 336 h 488"/>
                <a:gd name="T34" fmla="*/ 203 w 383"/>
                <a:gd name="T35" fmla="*/ 488 h 488"/>
                <a:gd name="T36" fmla="*/ 0 w 383"/>
                <a:gd name="T37" fmla="*/ 417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3" h="488">
                  <a:moveTo>
                    <a:pt x="0" y="417"/>
                  </a:moveTo>
                  <a:cubicBezTo>
                    <a:pt x="57" y="329"/>
                    <a:pt x="57" y="329"/>
                    <a:pt x="57" y="329"/>
                  </a:cubicBezTo>
                  <a:cubicBezTo>
                    <a:pt x="108" y="366"/>
                    <a:pt x="162" y="385"/>
                    <a:pt x="206" y="385"/>
                  </a:cubicBezTo>
                  <a:cubicBezTo>
                    <a:pt x="245" y="385"/>
                    <a:pt x="262" y="371"/>
                    <a:pt x="262" y="350"/>
                  </a:cubicBezTo>
                  <a:cubicBezTo>
                    <a:pt x="262" y="348"/>
                    <a:pt x="262" y="348"/>
                    <a:pt x="262" y="348"/>
                  </a:cubicBezTo>
                  <a:cubicBezTo>
                    <a:pt x="262" y="319"/>
                    <a:pt x="217" y="309"/>
                    <a:pt x="165" y="294"/>
                  </a:cubicBezTo>
                  <a:cubicBezTo>
                    <a:pt x="99" y="274"/>
                    <a:pt x="24" y="243"/>
                    <a:pt x="24" y="152"/>
                  </a:cubicBezTo>
                  <a:cubicBezTo>
                    <a:pt x="24" y="150"/>
                    <a:pt x="24" y="150"/>
                    <a:pt x="24" y="150"/>
                  </a:cubicBezTo>
                  <a:cubicBezTo>
                    <a:pt x="24" y="54"/>
                    <a:pt x="101" y="0"/>
                    <a:pt x="196" y="0"/>
                  </a:cubicBezTo>
                  <a:cubicBezTo>
                    <a:pt x="256" y="0"/>
                    <a:pt x="321" y="21"/>
                    <a:pt x="372" y="55"/>
                  </a:cubicBezTo>
                  <a:cubicBezTo>
                    <a:pt x="321" y="147"/>
                    <a:pt x="321" y="147"/>
                    <a:pt x="321" y="147"/>
                  </a:cubicBezTo>
                  <a:cubicBezTo>
                    <a:pt x="275" y="120"/>
                    <a:pt x="228" y="103"/>
                    <a:pt x="194" y="103"/>
                  </a:cubicBezTo>
                  <a:cubicBezTo>
                    <a:pt x="161" y="103"/>
                    <a:pt x="144" y="118"/>
                    <a:pt x="144" y="136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64"/>
                    <a:pt x="189" y="176"/>
                    <a:pt x="240" y="194"/>
                  </a:cubicBezTo>
                  <a:cubicBezTo>
                    <a:pt x="306" y="216"/>
                    <a:pt x="383" y="248"/>
                    <a:pt x="383" y="334"/>
                  </a:cubicBezTo>
                  <a:cubicBezTo>
                    <a:pt x="383" y="336"/>
                    <a:pt x="383" y="336"/>
                    <a:pt x="383" y="336"/>
                  </a:cubicBezTo>
                  <a:cubicBezTo>
                    <a:pt x="383" y="440"/>
                    <a:pt x="305" y="488"/>
                    <a:pt x="203" y="488"/>
                  </a:cubicBezTo>
                  <a:cubicBezTo>
                    <a:pt x="137" y="488"/>
                    <a:pt x="63" y="466"/>
                    <a:pt x="0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9A0D3D09-EE04-463E-BDCF-5DF8E417F5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82260" y="4167188"/>
              <a:ext cx="544513" cy="5461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6" name="Freeform 5">
            <a:extLst>
              <a:ext uri="{FF2B5EF4-FFF2-40B4-BE49-F238E27FC236}">
                <a16:creationId xmlns:a16="http://schemas.microsoft.com/office/drawing/2014/main" id="{4FE6F758-B2EA-46D2-8948-38B93F32AD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045329" y="12319998"/>
            <a:ext cx="5145087" cy="25759974"/>
          </a:xfrm>
          <a:custGeom>
            <a:avLst/>
            <a:gdLst>
              <a:gd name="T0" fmla="*/ 717 w 2697"/>
              <a:gd name="T1" fmla="*/ 241 h 1832"/>
              <a:gd name="T2" fmla="*/ 698 w 2697"/>
              <a:gd name="T3" fmla="*/ 358 h 1832"/>
              <a:gd name="T4" fmla="*/ 755 w 2697"/>
              <a:gd name="T5" fmla="*/ 353 h 1832"/>
              <a:gd name="T6" fmla="*/ 952 w 2697"/>
              <a:gd name="T7" fmla="*/ 431 h 1832"/>
              <a:gd name="T8" fmla="*/ 1077 w 2697"/>
              <a:gd name="T9" fmla="*/ 299 h 1832"/>
              <a:gd name="T10" fmla="*/ 769 w 2697"/>
              <a:gd name="T11" fmla="*/ 229 h 1832"/>
              <a:gd name="T12" fmla="*/ 1219 w 2697"/>
              <a:gd name="T13" fmla="*/ 431 h 1832"/>
              <a:gd name="T14" fmla="*/ 1120 w 2697"/>
              <a:gd name="T15" fmla="*/ 287 h 1832"/>
              <a:gd name="T16" fmla="*/ 1089 w 2697"/>
              <a:gd name="T17" fmla="*/ 373 h 1832"/>
              <a:gd name="T18" fmla="*/ 1175 w 2697"/>
              <a:gd name="T19" fmla="*/ 395 h 1832"/>
              <a:gd name="T20" fmla="*/ 1412 w 2697"/>
              <a:gd name="T21" fmla="*/ 225 h 1832"/>
              <a:gd name="T22" fmla="*/ 1348 w 2697"/>
              <a:gd name="T23" fmla="*/ 356 h 1832"/>
              <a:gd name="T24" fmla="*/ 1505 w 2697"/>
              <a:gd name="T25" fmla="*/ 364 h 1832"/>
              <a:gd name="T26" fmla="*/ 1448 w 2697"/>
              <a:gd name="T27" fmla="*/ 177 h 1832"/>
              <a:gd name="T28" fmla="*/ 1666 w 2697"/>
              <a:gd name="T29" fmla="*/ 435 h 1832"/>
              <a:gd name="T30" fmla="*/ 1758 w 2697"/>
              <a:gd name="T31" fmla="*/ 335 h 1832"/>
              <a:gd name="T32" fmla="*/ 1703 w 2697"/>
              <a:gd name="T33" fmla="*/ 314 h 1832"/>
              <a:gd name="T34" fmla="*/ 1892 w 2697"/>
              <a:gd name="T35" fmla="*/ 225 h 1832"/>
              <a:gd name="T36" fmla="*/ 1828 w 2697"/>
              <a:gd name="T37" fmla="*/ 356 h 1832"/>
              <a:gd name="T38" fmla="*/ 24 w 2697"/>
              <a:gd name="T39" fmla="*/ 634 h 1832"/>
              <a:gd name="T40" fmla="*/ 81 w 2697"/>
              <a:gd name="T41" fmla="*/ 720 h 1832"/>
              <a:gd name="T42" fmla="*/ 237 w 2697"/>
              <a:gd name="T43" fmla="*/ 581 h 1832"/>
              <a:gd name="T44" fmla="*/ 243 w 2697"/>
              <a:gd name="T45" fmla="*/ 745 h 1832"/>
              <a:gd name="T46" fmla="*/ 237 w 2697"/>
              <a:gd name="T47" fmla="*/ 627 h 1832"/>
              <a:gd name="T48" fmla="*/ 450 w 2697"/>
              <a:gd name="T49" fmla="*/ 631 h 1832"/>
              <a:gd name="T50" fmla="*/ 449 w 2697"/>
              <a:gd name="T51" fmla="*/ 791 h 1832"/>
              <a:gd name="T52" fmla="*/ 598 w 2697"/>
              <a:gd name="T53" fmla="*/ 512 h 1832"/>
              <a:gd name="T54" fmla="*/ 669 w 2697"/>
              <a:gd name="T55" fmla="*/ 674 h 1832"/>
              <a:gd name="T56" fmla="*/ 798 w 2697"/>
              <a:gd name="T57" fmla="*/ 614 h 1832"/>
              <a:gd name="T58" fmla="*/ 833 w 2697"/>
              <a:gd name="T59" fmla="*/ 633 h 1832"/>
              <a:gd name="T60" fmla="*/ 1155 w 2697"/>
              <a:gd name="T61" fmla="*/ 686 h 1832"/>
              <a:gd name="T62" fmla="*/ 1155 w 2697"/>
              <a:gd name="T63" fmla="*/ 686 h 1832"/>
              <a:gd name="T64" fmla="*/ 1047 w 2697"/>
              <a:gd name="T65" fmla="*/ 742 h 1832"/>
              <a:gd name="T66" fmla="*/ 1167 w 2697"/>
              <a:gd name="T67" fmla="*/ 787 h 1832"/>
              <a:gd name="T68" fmla="*/ 1453 w 2697"/>
              <a:gd name="T69" fmla="*/ 686 h 1832"/>
              <a:gd name="T70" fmla="*/ 1344 w 2697"/>
              <a:gd name="T71" fmla="*/ 631 h 1832"/>
              <a:gd name="T72" fmla="*/ 1562 w 2697"/>
              <a:gd name="T73" fmla="*/ 848 h 1832"/>
              <a:gd name="T74" fmla="*/ 1552 w 2697"/>
              <a:gd name="T75" fmla="*/ 581 h 1832"/>
              <a:gd name="T76" fmla="*/ 1560 w 2697"/>
              <a:gd name="T77" fmla="*/ 802 h 1832"/>
              <a:gd name="T78" fmla="*/ 1618 w 2697"/>
              <a:gd name="T79" fmla="*/ 676 h 1832"/>
              <a:gd name="T80" fmla="*/ 1743 w 2697"/>
              <a:gd name="T81" fmla="*/ 801 h 1832"/>
              <a:gd name="T82" fmla="*/ 1834 w 2697"/>
              <a:gd name="T83" fmla="*/ 585 h 1832"/>
              <a:gd name="T84" fmla="*/ 1101 w 2697"/>
              <a:gd name="T85" fmla="*/ 940 h 1832"/>
              <a:gd name="T86" fmla="*/ 974 w 2697"/>
              <a:gd name="T87" fmla="*/ 965 h 1832"/>
              <a:gd name="T88" fmla="*/ 1101 w 2697"/>
              <a:gd name="T89" fmla="*/ 1012 h 1832"/>
              <a:gd name="T90" fmla="*/ 1318 w 2697"/>
              <a:gd name="T91" fmla="*/ 1064 h 1832"/>
              <a:gd name="T92" fmla="*/ 1156 w 2697"/>
              <a:gd name="T93" fmla="*/ 1063 h 1832"/>
              <a:gd name="T94" fmla="*/ 1332 w 2697"/>
              <a:gd name="T95" fmla="*/ 963 h 1832"/>
              <a:gd name="T96" fmla="*/ 1453 w 2697"/>
              <a:gd name="T97" fmla="*/ 959 h 1832"/>
              <a:gd name="T98" fmla="*/ 1657 w 2697"/>
              <a:gd name="T99" fmla="*/ 1046 h 1832"/>
              <a:gd name="T100" fmla="*/ 1657 w 2697"/>
              <a:gd name="T101" fmla="*/ 1143 h 1832"/>
              <a:gd name="T102" fmla="*/ 1658 w 2697"/>
              <a:gd name="T103" fmla="*/ 1094 h 1832"/>
              <a:gd name="T104" fmla="*/ 1658 w 2697"/>
              <a:gd name="T105" fmla="*/ 1094 h 1832"/>
              <a:gd name="T106" fmla="*/ 1817 w 2697"/>
              <a:gd name="T107" fmla="*/ 1165 h 1832"/>
              <a:gd name="T108" fmla="*/ 2086 w 2697"/>
              <a:gd name="T109" fmla="*/ 1832 h 1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697" h="1832">
                <a:moveTo>
                  <a:pt x="755" y="352"/>
                </a:moveTo>
                <a:cubicBezTo>
                  <a:pt x="755" y="306"/>
                  <a:pt x="725" y="287"/>
                  <a:pt x="672" y="273"/>
                </a:cubicBezTo>
                <a:cubicBezTo>
                  <a:pt x="626" y="261"/>
                  <a:pt x="615" y="256"/>
                  <a:pt x="615" y="238"/>
                </a:cubicBezTo>
                <a:cubicBezTo>
                  <a:pt x="615" y="238"/>
                  <a:pt x="615" y="238"/>
                  <a:pt x="615" y="238"/>
                </a:cubicBezTo>
                <a:cubicBezTo>
                  <a:pt x="615" y="225"/>
                  <a:pt x="626" y="215"/>
                  <a:pt x="649" y="215"/>
                </a:cubicBezTo>
                <a:cubicBezTo>
                  <a:pt x="671" y="215"/>
                  <a:pt x="694" y="224"/>
                  <a:pt x="717" y="241"/>
                </a:cubicBezTo>
                <a:cubicBezTo>
                  <a:pt x="747" y="197"/>
                  <a:pt x="747" y="197"/>
                  <a:pt x="747" y="197"/>
                </a:cubicBezTo>
                <a:cubicBezTo>
                  <a:pt x="720" y="175"/>
                  <a:pt x="688" y="163"/>
                  <a:pt x="649" y="163"/>
                </a:cubicBezTo>
                <a:cubicBezTo>
                  <a:pt x="595" y="163"/>
                  <a:pt x="557" y="195"/>
                  <a:pt x="557" y="243"/>
                </a:cubicBezTo>
                <a:cubicBezTo>
                  <a:pt x="557" y="244"/>
                  <a:pt x="557" y="244"/>
                  <a:pt x="557" y="244"/>
                </a:cubicBezTo>
                <a:cubicBezTo>
                  <a:pt x="557" y="296"/>
                  <a:pt x="591" y="311"/>
                  <a:pt x="644" y="324"/>
                </a:cubicBezTo>
                <a:cubicBezTo>
                  <a:pt x="688" y="335"/>
                  <a:pt x="698" y="343"/>
                  <a:pt x="698" y="358"/>
                </a:cubicBezTo>
                <a:cubicBezTo>
                  <a:pt x="698" y="358"/>
                  <a:pt x="698" y="358"/>
                  <a:pt x="698" y="358"/>
                </a:cubicBezTo>
                <a:cubicBezTo>
                  <a:pt x="698" y="374"/>
                  <a:pt x="683" y="383"/>
                  <a:pt x="659" y="383"/>
                </a:cubicBezTo>
                <a:cubicBezTo>
                  <a:pt x="629" y="383"/>
                  <a:pt x="605" y="371"/>
                  <a:pt x="581" y="351"/>
                </a:cubicBezTo>
                <a:cubicBezTo>
                  <a:pt x="547" y="392"/>
                  <a:pt x="547" y="392"/>
                  <a:pt x="547" y="392"/>
                </a:cubicBezTo>
                <a:cubicBezTo>
                  <a:pt x="578" y="421"/>
                  <a:pt x="618" y="435"/>
                  <a:pt x="658" y="435"/>
                </a:cubicBezTo>
                <a:cubicBezTo>
                  <a:pt x="715" y="435"/>
                  <a:pt x="755" y="405"/>
                  <a:pt x="755" y="353"/>
                </a:cubicBezTo>
                <a:lnTo>
                  <a:pt x="755" y="352"/>
                </a:lnTo>
                <a:close/>
                <a:moveTo>
                  <a:pt x="826" y="318"/>
                </a:moveTo>
                <a:cubicBezTo>
                  <a:pt x="826" y="291"/>
                  <a:pt x="839" y="277"/>
                  <a:pt x="861" y="277"/>
                </a:cubicBezTo>
                <a:cubicBezTo>
                  <a:pt x="882" y="277"/>
                  <a:pt x="894" y="291"/>
                  <a:pt x="894" y="318"/>
                </a:cubicBezTo>
                <a:cubicBezTo>
                  <a:pt x="894" y="431"/>
                  <a:pt x="894" y="431"/>
                  <a:pt x="894" y="431"/>
                </a:cubicBezTo>
                <a:cubicBezTo>
                  <a:pt x="952" y="431"/>
                  <a:pt x="952" y="431"/>
                  <a:pt x="952" y="431"/>
                </a:cubicBezTo>
                <a:cubicBezTo>
                  <a:pt x="952" y="318"/>
                  <a:pt x="952" y="318"/>
                  <a:pt x="952" y="318"/>
                </a:cubicBezTo>
                <a:cubicBezTo>
                  <a:pt x="952" y="291"/>
                  <a:pt x="965" y="277"/>
                  <a:pt x="986" y="277"/>
                </a:cubicBezTo>
                <a:cubicBezTo>
                  <a:pt x="1008" y="277"/>
                  <a:pt x="1020" y="291"/>
                  <a:pt x="1020" y="318"/>
                </a:cubicBezTo>
                <a:cubicBezTo>
                  <a:pt x="1020" y="431"/>
                  <a:pt x="1020" y="431"/>
                  <a:pt x="1020" y="431"/>
                </a:cubicBezTo>
                <a:cubicBezTo>
                  <a:pt x="1077" y="431"/>
                  <a:pt x="1077" y="431"/>
                  <a:pt x="1077" y="431"/>
                </a:cubicBezTo>
                <a:cubicBezTo>
                  <a:pt x="1077" y="299"/>
                  <a:pt x="1077" y="299"/>
                  <a:pt x="1077" y="299"/>
                </a:cubicBezTo>
                <a:cubicBezTo>
                  <a:pt x="1077" y="251"/>
                  <a:pt x="1051" y="225"/>
                  <a:pt x="1009" y="225"/>
                </a:cubicBezTo>
                <a:cubicBezTo>
                  <a:pt x="981" y="225"/>
                  <a:pt x="960" y="236"/>
                  <a:pt x="943" y="257"/>
                </a:cubicBezTo>
                <a:cubicBezTo>
                  <a:pt x="932" y="237"/>
                  <a:pt x="912" y="225"/>
                  <a:pt x="886" y="225"/>
                </a:cubicBezTo>
                <a:cubicBezTo>
                  <a:pt x="857" y="225"/>
                  <a:pt x="839" y="241"/>
                  <a:pt x="826" y="258"/>
                </a:cubicBezTo>
                <a:cubicBezTo>
                  <a:pt x="826" y="229"/>
                  <a:pt x="826" y="229"/>
                  <a:pt x="826" y="229"/>
                </a:cubicBezTo>
                <a:cubicBezTo>
                  <a:pt x="769" y="229"/>
                  <a:pt x="769" y="229"/>
                  <a:pt x="769" y="229"/>
                </a:cubicBezTo>
                <a:cubicBezTo>
                  <a:pt x="769" y="431"/>
                  <a:pt x="769" y="431"/>
                  <a:pt x="769" y="431"/>
                </a:cubicBezTo>
                <a:cubicBezTo>
                  <a:pt x="826" y="431"/>
                  <a:pt x="826" y="431"/>
                  <a:pt x="826" y="431"/>
                </a:cubicBezTo>
                <a:lnTo>
                  <a:pt x="826" y="318"/>
                </a:lnTo>
                <a:close/>
                <a:moveTo>
                  <a:pt x="1158" y="435"/>
                </a:moveTo>
                <a:cubicBezTo>
                  <a:pt x="1186" y="435"/>
                  <a:pt x="1205" y="424"/>
                  <a:pt x="1219" y="409"/>
                </a:cubicBezTo>
                <a:cubicBezTo>
                  <a:pt x="1219" y="431"/>
                  <a:pt x="1219" y="431"/>
                  <a:pt x="1219" y="431"/>
                </a:cubicBezTo>
                <a:cubicBezTo>
                  <a:pt x="1274" y="431"/>
                  <a:pt x="1274" y="431"/>
                  <a:pt x="1274" y="431"/>
                </a:cubicBezTo>
                <a:cubicBezTo>
                  <a:pt x="1274" y="314"/>
                  <a:pt x="1274" y="314"/>
                  <a:pt x="1274" y="314"/>
                </a:cubicBezTo>
                <a:cubicBezTo>
                  <a:pt x="1274" y="287"/>
                  <a:pt x="1268" y="264"/>
                  <a:pt x="1253" y="249"/>
                </a:cubicBezTo>
                <a:cubicBezTo>
                  <a:pt x="1238" y="235"/>
                  <a:pt x="1216" y="227"/>
                  <a:pt x="1184" y="227"/>
                </a:cubicBezTo>
                <a:cubicBezTo>
                  <a:pt x="1150" y="227"/>
                  <a:pt x="1128" y="233"/>
                  <a:pt x="1106" y="243"/>
                </a:cubicBezTo>
                <a:cubicBezTo>
                  <a:pt x="1120" y="287"/>
                  <a:pt x="1120" y="287"/>
                  <a:pt x="1120" y="287"/>
                </a:cubicBezTo>
                <a:cubicBezTo>
                  <a:pt x="1139" y="280"/>
                  <a:pt x="1154" y="276"/>
                  <a:pt x="1176" y="276"/>
                </a:cubicBezTo>
                <a:cubicBezTo>
                  <a:pt x="1205" y="276"/>
                  <a:pt x="1219" y="289"/>
                  <a:pt x="1219" y="313"/>
                </a:cubicBezTo>
                <a:cubicBezTo>
                  <a:pt x="1219" y="316"/>
                  <a:pt x="1219" y="316"/>
                  <a:pt x="1219" y="316"/>
                </a:cubicBezTo>
                <a:cubicBezTo>
                  <a:pt x="1205" y="311"/>
                  <a:pt x="1190" y="308"/>
                  <a:pt x="1170" y="308"/>
                </a:cubicBezTo>
                <a:cubicBezTo>
                  <a:pt x="1122" y="308"/>
                  <a:pt x="1089" y="328"/>
                  <a:pt x="1089" y="372"/>
                </a:cubicBezTo>
                <a:cubicBezTo>
                  <a:pt x="1089" y="373"/>
                  <a:pt x="1089" y="373"/>
                  <a:pt x="1089" y="373"/>
                </a:cubicBezTo>
                <a:cubicBezTo>
                  <a:pt x="1089" y="413"/>
                  <a:pt x="1120" y="435"/>
                  <a:pt x="1158" y="435"/>
                </a:cubicBezTo>
                <a:close/>
                <a:moveTo>
                  <a:pt x="1144" y="370"/>
                </a:moveTo>
                <a:cubicBezTo>
                  <a:pt x="1144" y="352"/>
                  <a:pt x="1159" y="342"/>
                  <a:pt x="1184" y="342"/>
                </a:cubicBezTo>
                <a:cubicBezTo>
                  <a:pt x="1198" y="342"/>
                  <a:pt x="1210" y="345"/>
                  <a:pt x="1220" y="349"/>
                </a:cubicBezTo>
                <a:cubicBezTo>
                  <a:pt x="1220" y="360"/>
                  <a:pt x="1220" y="360"/>
                  <a:pt x="1220" y="360"/>
                </a:cubicBezTo>
                <a:cubicBezTo>
                  <a:pt x="1220" y="380"/>
                  <a:pt x="1202" y="395"/>
                  <a:pt x="1175" y="395"/>
                </a:cubicBezTo>
                <a:cubicBezTo>
                  <a:pt x="1157" y="395"/>
                  <a:pt x="1144" y="386"/>
                  <a:pt x="1144" y="371"/>
                </a:cubicBezTo>
                <a:lnTo>
                  <a:pt x="1144" y="370"/>
                </a:lnTo>
                <a:close/>
                <a:moveTo>
                  <a:pt x="1348" y="356"/>
                </a:moveTo>
                <a:cubicBezTo>
                  <a:pt x="1348" y="308"/>
                  <a:pt x="1371" y="285"/>
                  <a:pt x="1409" y="285"/>
                </a:cubicBezTo>
                <a:cubicBezTo>
                  <a:pt x="1412" y="285"/>
                  <a:pt x="1412" y="285"/>
                  <a:pt x="1412" y="285"/>
                </a:cubicBezTo>
                <a:cubicBezTo>
                  <a:pt x="1412" y="225"/>
                  <a:pt x="1412" y="225"/>
                  <a:pt x="1412" y="225"/>
                </a:cubicBezTo>
                <a:cubicBezTo>
                  <a:pt x="1378" y="224"/>
                  <a:pt x="1360" y="242"/>
                  <a:pt x="1348" y="270"/>
                </a:cubicBezTo>
                <a:cubicBezTo>
                  <a:pt x="1348" y="229"/>
                  <a:pt x="1348" y="229"/>
                  <a:pt x="1348" y="229"/>
                </a:cubicBezTo>
                <a:cubicBezTo>
                  <a:pt x="1291" y="229"/>
                  <a:pt x="1291" y="229"/>
                  <a:pt x="1291" y="229"/>
                </a:cubicBezTo>
                <a:cubicBezTo>
                  <a:pt x="1291" y="431"/>
                  <a:pt x="1291" y="431"/>
                  <a:pt x="1291" y="431"/>
                </a:cubicBezTo>
                <a:cubicBezTo>
                  <a:pt x="1348" y="431"/>
                  <a:pt x="1348" y="431"/>
                  <a:pt x="1348" y="431"/>
                </a:cubicBezTo>
                <a:lnTo>
                  <a:pt x="1348" y="356"/>
                </a:lnTo>
                <a:close/>
                <a:moveTo>
                  <a:pt x="1448" y="374"/>
                </a:moveTo>
                <a:cubicBezTo>
                  <a:pt x="1448" y="420"/>
                  <a:pt x="1472" y="434"/>
                  <a:pt x="1507" y="434"/>
                </a:cubicBezTo>
                <a:cubicBezTo>
                  <a:pt x="1526" y="434"/>
                  <a:pt x="1540" y="430"/>
                  <a:pt x="1552" y="422"/>
                </a:cubicBezTo>
                <a:cubicBezTo>
                  <a:pt x="1552" y="377"/>
                  <a:pt x="1552" y="377"/>
                  <a:pt x="1552" y="377"/>
                </a:cubicBezTo>
                <a:cubicBezTo>
                  <a:pt x="1543" y="381"/>
                  <a:pt x="1534" y="384"/>
                  <a:pt x="1524" y="384"/>
                </a:cubicBezTo>
                <a:cubicBezTo>
                  <a:pt x="1511" y="384"/>
                  <a:pt x="1505" y="377"/>
                  <a:pt x="1505" y="364"/>
                </a:cubicBezTo>
                <a:cubicBezTo>
                  <a:pt x="1505" y="278"/>
                  <a:pt x="1505" y="278"/>
                  <a:pt x="1505" y="278"/>
                </a:cubicBezTo>
                <a:cubicBezTo>
                  <a:pt x="1553" y="278"/>
                  <a:pt x="1553" y="278"/>
                  <a:pt x="1553" y="278"/>
                </a:cubicBezTo>
                <a:cubicBezTo>
                  <a:pt x="1553" y="229"/>
                  <a:pt x="1553" y="229"/>
                  <a:pt x="1553" y="229"/>
                </a:cubicBezTo>
                <a:cubicBezTo>
                  <a:pt x="1505" y="229"/>
                  <a:pt x="1505" y="229"/>
                  <a:pt x="1505" y="229"/>
                </a:cubicBezTo>
                <a:cubicBezTo>
                  <a:pt x="1505" y="177"/>
                  <a:pt x="1505" y="177"/>
                  <a:pt x="1505" y="177"/>
                </a:cubicBezTo>
                <a:cubicBezTo>
                  <a:pt x="1448" y="177"/>
                  <a:pt x="1448" y="177"/>
                  <a:pt x="1448" y="177"/>
                </a:cubicBezTo>
                <a:cubicBezTo>
                  <a:pt x="1448" y="229"/>
                  <a:pt x="1448" y="229"/>
                  <a:pt x="1448" y="229"/>
                </a:cubicBezTo>
                <a:cubicBezTo>
                  <a:pt x="1424" y="229"/>
                  <a:pt x="1424" y="229"/>
                  <a:pt x="1424" y="229"/>
                </a:cubicBezTo>
                <a:cubicBezTo>
                  <a:pt x="1424" y="278"/>
                  <a:pt x="1424" y="278"/>
                  <a:pt x="1424" y="278"/>
                </a:cubicBezTo>
                <a:cubicBezTo>
                  <a:pt x="1448" y="278"/>
                  <a:pt x="1448" y="278"/>
                  <a:pt x="1448" y="278"/>
                </a:cubicBezTo>
                <a:lnTo>
                  <a:pt x="1448" y="374"/>
                </a:lnTo>
                <a:close/>
                <a:moveTo>
                  <a:pt x="1666" y="435"/>
                </a:moveTo>
                <a:cubicBezTo>
                  <a:pt x="1702" y="435"/>
                  <a:pt x="1729" y="421"/>
                  <a:pt x="1748" y="398"/>
                </a:cubicBezTo>
                <a:cubicBezTo>
                  <a:pt x="1715" y="369"/>
                  <a:pt x="1715" y="369"/>
                  <a:pt x="1715" y="369"/>
                </a:cubicBezTo>
                <a:cubicBezTo>
                  <a:pt x="1700" y="383"/>
                  <a:pt x="1686" y="389"/>
                  <a:pt x="1666" y="389"/>
                </a:cubicBezTo>
                <a:cubicBezTo>
                  <a:pt x="1641" y="389"/>
                  <a:pt x="1623" y="376"/>
                  <a:pt x="1617" y="350"/>
                </a:cubicBezTo>
                <a:cubicBezTo>
                  <a:pt x="1758" y="350"/>
                  <a:pt x="1758" y="350"/>
                  <a:pt x="1758" y="350"/>
                </a:cubicBezTo>
                <a:cubicBezTo>
                  <a:pt x="1758" y="345"/>
                  <a:pt x="1758" y="339"/>
                  <a:pt x="1758" y="335"/>
                </a:cubicBezTo>
                <a:cubicBezTo>
                  <a:pt x="1758" y="277"/>
                  <a:pt x="1727" y="225"/>
                  <a:pt x="1660" y="225"/>
                </a:cubicBezTo>
                <a:cubicBezTo>
                  <a:pt x="1601" y="225"/>
                  <a:pt x="1560" y="273"/>
                  <a:pt x="1560" y="330"/>
                </a:cubicBezTo>
                <a:cubicBezTo>
                  <a:pt x="1560" y="331"/>
                  <a:pt x="1560" y="331"/>
                  <a:pt x="1560" y="331"/>
                </a:cubicBezTo>
                <a:cubicBezTo>
                  <a:pt x="1560" y="393"/>
                  <a:pt x="1605" y="435"/>
                  <a:pt x="1666" y="435"/>
                </a:cubicBezTo>
                <a:close/>
                <a:moveTo>
                  <a:pt x="1660" y="271"/>
                </a:moveTo>
                <a:cubicBezTo>
                  <a:pt x="1684" y="271"/>
                  <a:pt x="1699" y="288"/>
                  <a:pt x="1703" y="314"/>
                </a:cubicBezTo>
                <a:cubicBezTo>
                  <a:pt x="1616" y="314"/>
                  <a:pt x="1616" y="314"/>
                  <a:pt x="1616" y="314"/>
                </a:cubicBezTo>
                <a:cubicBezTo>
                  <a:pt x="1621" y="288"/>
                  <a:pt x="1636" y="271"/>
                  <a:pt x="1660" y="271"/>
                </a:cubicBezTo>
                <a:close/>
                <a:moveTo>
                  <a:pt x="1828" y="356"/>
                </a:moveTo>
                <a:cubicBezTo>
                  <a:pt x="1828" y="308"/>
                  <a:pt x="1851" y="285"/>
                  <a:pt x="1889" y="285"/>
                </a:cubicBezTo>
                <a:cubicBezTo>
                  <a:pt x="1892" y="285"/>
                  <a:pt x="1892" y="285"/>
                  <a:pt x="1892" y="285"/>
                </a:cubicBezTo>
                <a:cubicBezTo>
                  <a:pt x="1892" y="225"/>
                  <a:pt x="1892" y="225"/>
                  <a:pt x="1892" y="225"/>
                </a:cubicBezTo>
                <a:cubicBezTo>
                  <a:pt x="1858" y="224"/>
                  <a:pt x="1839" y="242"/>
                  <a:pt x="1828" y="270"/>
                </a:cubicBezTo>
                <a:cubicBezTo>
                  <a:pt x="1828" y="229"/>
                  <a:pt x="1828" y="229"/>
                  <a:pt x="1828" y="229"/>
                </a:cubicBezTo>
                <a:cubicBezTo>
                  <a:pt x="1770" y="229"/>
                  <a:pt x="1770" y="229"/>
                  <a:pt x="1770" y="229"/>
                </a:cubicBezTo>
                <a:cubicBezTo>
                  <a:pt x="1770" y="431"/>
                  <a:pt x="1770" y="431"/>
                  <a:pt x="1770" y="431"/>
                </a:cubicBezTo>
                <a:cubicBezTo>
                  <a:pt x="1828" y="431"/>
                  <a:pt x="1828" y="431"/>
                  <a:pt x="1828" y="431"/>
                </a:cubicBezTo>
                <a:lnTo>
                  <a:pt x="1828" y="356"/>
                </a:lnTo>
                <a:close/>
                <a:moveTo>
                  <a:pt x="81" y="533"/>
                </a:moveTo>
                <a:cubicBezTo>
                  <a:pt x="24" y="533"/>
                  <a:pt x="24" y="533"/>
                  <a:pt x="24" y="533"/>
                </a:cubicBezTo>
                <a:cubicBezTo>
                  <a:pt x="24" y="585"/>
                  <a:pt x="24" y="585"/>
                  <a:pt x="24" y="585"/>
                </a:cubicBezTo>
                <a:cubicBezTo>
                  <a:pt x="0" y="585"/>
                  <a:pt x="0" y="585"/>
                  <a:pt x="0" y="585"/>
                </a:cubicBezTo>
                <a:cubicBezTo>
                  <a:pt x="0" y="634"/>
                  <a:pt x="0" y="634"/>
                  <a:pt x="0" y="634"/>
                </a:cubicBezTo>
                <a:cubicBezTo>
                  <a:pt x="24" y="634"/>
                  <a:pt x="24" y="634"/>
                  <a:pt x="24" y="634"/>
                </a:cubicBezTo>
                <a:cubicBezTo>
                  <a:pt x="24" y="730"/>
                  <a:pt x="24" y="730"/>
                  <a:pt x="24" y="730"/>
                </a:cubicBezTo>
                <a:cubicBezTo>
                  <a:pt x="24" y="776"/>
                  <a:pt x="48" y="790"/>
                  <a:pt x="83" y="790"/>
                </a:cubicBezTo>
                <a:cubicBezTo>
                  <a:pt x="102" y="790"/>
                  <a:pt x="116" y="786"/>
                  <a:pt x="128" y="779"/>
                </a:cubicBezTo>
                <a:cubicBezTo>
                  <a:pt x="128" y="733"/>
                  <a:pt x="128" y="733"/>
                  <a:pt x="128" y="733"/>
                </a:cubicBezTo>
                <a:cubicBezTo>
                  <a:pt x="120" y="737"/>
                  <a:pt x="110" y="740"/>
                  <a:pt x="100" y="740"/>
                </a:cubicBezTo>
                <a:cubicBezTo>
                  <a:pt x="87" y="740"/>
                  <a:pt x="81" y="733"/>
                  <a:pt x="81" y="720"/>
                </a:cubicBezTo>
                <a:cubicBezTo>
                  <a:pt x="81" y="634"/>
                  <a:pt x="81" y="634"/>
                  <a:pt x="81" y="634"/>
                </a:cubicBezTo>
                <a:cubicBezTo>
                  <a:pt x="129" y="634"/>
                  <a:pt x="129" y="634"/>
                  <a:pt x="129" y="634"/>
                </a:cubicBezTo>
                <a:cubicBezTo>
                  <a:pt x="129" y="585"/>
                  <a:pt x="129" y="585"/>
                  <a:pt x="129" y="585"/>
                </a:cubicBezTo>
                <a:cubicBezTo>
                  <a:pt x="81" y="585"/>
                  <a:pt x="81" y="585"/>
                  <a:pt x="81" y="585"/>
                </a:cubicBezTo>
                <a:lnTo>
                  <a:pt x="81" y="533"/>
                </a:lnTo>
                <a:close/>
                <a:moveTo>
                  <a:pt x="237" y="581"/>
                </a:moveTo>
                <a:cubicBezTo>
                  <a:pt x="178" y="581"/>
                  <a:pt x="137" y="629"/>
                  <a:pt x="137" y="686"/>
                </a:cubicBezTo>
                <a:cubicBezTo>
                  <a:pt x="137" y="687"/>
                  <a:pt x="137" y="687"/>
                  <a:pt x="137" y="687"/>
                </a:cubicBezTo>
                <a:cubicBezTo>
                  <a:pt x="137" y="749"/>
                  <a:pt x="182" y="791"/>
                  <a:pt x="243" y="791"/>
                </a:cubicBezTo>
                <a:cubicBezTo>
                  <a:pt x="279" y="791"/>
                  <a:pt x="306" y="777"/>
                  <a:pt x="325" y="754"/>
                </a:cubicBezTo>
                <a:cubicBezTo>
                  <a:pt x="292" y="725"/>
                  <a:pt x="292" y="725"/>
                  <a:pt x="292" y="725"/>
                </a:cubicBezTo>
                <a:cubicBezTo>
                  <a:pt x="277" y="739"/>
                  <a:pt x="263" y="745"/>
                  <a:pt x="243" y="745"/>
                </a:cubicBezTo>
                <a:cubicBezTo>
                  <a:pt x="218" y="745"/>
                  <a:pt x="200" y="732"/>
                  <a:pt x="194" y="706"/>
                </a:cubicBezTo>
                <a:cubicBezTo>
                  <a:pt x="335" y="706"/>
                  <a:pt x="335" y="706"/>
                  <a:pt x="335" y="706"/>
                </a:cubicBezTo>
                <a:cubicBezTo>
                  <a:pt x="335" y="701"/>
                  <a:pt x="335" y="695"/>
                  <a:pt x="335" y="691"/>
                </a:cubicBezTo>
                <a:cubicBezTo>
                  <a:pt x="335" y="634"/>
                  <a:pt x="304" y="581"/>
                  <a:pt x="237" y="581"/>
                </a:cubicBezTo>
                <a:close/>
                <a:moveTo>
                  <a:pt x="193" y="670"/>
                </a:moveTo>
                <a:cubicBezTo>
                  <a:pt x="198" y="644"/>
                  <a:pt x="213" y="627"/>
                  <a:pt x="237" y="627"/>
                </a:cubicBezTo>
                <a:cubicBezTo>
                  <a:pt x="261" y="627"/>
                  <a:pt x="276" y="644"/>
                  <a:pt x="280" y="670"/>
                </a:cubicBezTo>
                <a:lnTo>
                  <a:pt x="193" y="670"/>
                </a:lnTo>
                <a:close/>
                <a:moveTo>
                  <a:pt x="452" y="742"/>
                </a:moveTo>
                <a:cubicBezTo>
                  <a:pt x="421" y="742"/>
                  <a:pt x="401" y="717"/>
                  <a:pt x="401" y="686"/>
                </a:cubicBezTo>
                <a:cubicBezTo>
                  <a:pt x="401" y="686"/>
                  <a:pt x="401" y="686"/>
                  <a:pt x="401" y="686"/>
                </a:cubicBezTo>
                <a:cubicBezTo>
                  <a:pt x="401" y="656"/>
                  <a:pt x="421" y="631"/>
                  <a:pt x="450" y="631"/>
                </a:cubicBezTo>
                <a:cubicBezTo>
                  <a:pt x="470" y="631"/>
                  <a:pt x="483" y="639"/>
                  <a:pt x="496" y="653"/>
                </a:cubicBezTo>
                <a:cubicBezTo>
                  <a:pt x="531" y="615"/>
                  <a:pt x="531" y="615"/>
                  <a:pt x="531" y="615"/>
                </a:cubicBezTo>
                <a:cubicBezTo>
                  <a:pt x="512" y="594"/>
                  <a:pt x="488" y="581"/>
                  <a:pt x="450" y="581"/>
                </a:cubicBezTo>
                <a:cubicBezTo>
                  <a:pt x="388" y="581"/>
                  <a:pt x="344" y="629"/>
                  <a:pt x="344" y="686"/>
                </a:cubicBezTo>
                <a:cubicBezTo>
                  <a:pt x="344" y="687"/>
                  <a:pt x="344" y="687"/>
                  <a:pt x="344" y="687"/>
                </a:cubicBezTo>
                <a:cubicBezTo>
                  <a:pt x="344" y="745"/>
                  <a:pt x="389" y="791"/>
                  <a:pt x="449" y="791"/>
                </a:cubicBezTo>
                <a:cubicBezTo>
                  <a:pt x="490" y="791"/>
                  <a:pt x="512" y="776"/>
                  <a:pt x="532" y="754"/>
                </a:cubicBezTo>
                <a:cubicBezTo>
                  <a:pt x="498" y="721"/>
                  <a:pt x="498" y="721"/>
                  <a:pt x="498" y="721"/>
                </a:cubicBezTo>
                <a:cubicBezTo>
                  <a:pt x="485" y="734"/>
                  <a:pt x="471" y="742"/>
                  <a:pt x="452" y="742"/>
                </a:cubicBezTo>
                <a:close/>
                <a:moveTo>
                  <a:pt x="657" y="581"/>
                </a:moveTo>
                <a:cubicBezTo>
                  <a:pt x="628" y="581"/>
                  <a:pt x="611" y="597"/>
                  <a:pt x="598" y="614"/>
                </a:cubicBezTo>
                <a:cubicBezTo>
                  <a:pt x="598" y="512"/>
                  <a:pt x="598" y="512"/>
                  <a:pt x="598" y="512"/>
                </a:cubicBezTo>
                <a:cubicBezTo>
                  <a:pt x="541" y="512"/>
                  <a:pt x="541" y="512"/>
                  <a:pt x="541" y="512"/>
                </a:cubicBezTo>
                <a:cubicBezTo>
                  <a:pt x="541" y="787"/>
                  <a:pt x="541" y="787"/>
                  <a:pt x="541" y="787"/>
                </a:cubicBezTo>
                <a:cubicBezTo>
                  <a:pt x="598" y="787"/>
                  <a:pt x="598" y="787"/>
                  <a:pt x="598" y="787"/>
                </a:cubicBezTo>
                <a:cubicBezTo>
                  <a:pt x="598" y="674"/>
                  <a:pt x="598" y="674"/>
                  <a:pt x="598" y="674"/>
                </a:cubicBezTo>
                <a:cubicBezTo>
                  <a:pt x="598" y="647"/>
                  <a:pt x="612" y="633"/>
                  <a:pt x="634" y="633"/>
                </a:cubicBezTo>
                <a:cubicBezTo>
                  <a:pt x="656" y="633"/>
                  <a:pt x="669" y="647"/>
                  <a:pt x="669" y="674"/>
                </a:cubicBezTo>
                <a:cubicBezTo>
                  <a:pt x="669" y="787"/>
                  <a:pt x="669" y="787"/>
                  <a:pt x="669" y="787"/>
                </a:cubicBezTo>
                <a:cubicBezTo>
                  <a:pt x="726" y="787"/>
                  <a:pt x="726" y="787"/>
                  <a:pt x="726" y="787"/>
                </a:cubicBezTo>
                <a:cubicBezTo>
                  <a:pt x="726" y="656"/>
                  <a:pt x="726" y="656"/>
                  <a:pt x="726" y="656"/>
                </a:cubicBezTo>
                <a:cubicBezTo>
                  <a:pt x="726" y="610"/>
                  <a:pt x="701" y="581"/>
                  <a:pt x="657" y="581"/>
                </a:cubicBezTo>
                <a:close/>
                <a:moveTo>
                  <a:pt x="857" y="581"/>
                </a:moveTo>
                <a:cubicBezTo>
                  <a:pt x="828" y="581"/>
                  <a:pt x="811" y="597"/>
                  <a:pt x="798" y="614"/>
                </a:cubicBezTo>
                <a:cubicBezTo>
                  <a:pt x="798" y="585"/>
                  <a:pt x="798" y="585"/>
                  <a:pt x="798" y="585"/>
                </a:cubicBezTo>
                <a:cubicBezTo>
                  <a:pt x="740" y="585"/>
                  <a:pt x="740" y="585"/>
                  <a:pt x="740" y="585"/>
                </a:cubicBezTo>
                <a:cubicBezTo>
                  <a:pt x="740" y="787"/>
                  <a:pt x="740" y="787"/>
                  <a:pt x="740" y="787"/>
                </a:cubicBezTo>
                <a:cubicBezTo>
                  <a:pt x="798" y="787"/>
                  <a:pt x="798" y="787"/>
                  <a:pt x="798" y="787"/>
                </a:cubicBezTo>
                <a:cubicBezTo>
                  <a:pt x="798" y="674"/>
                  <a:pt x="798" y="674"/>
                  <a:pt x="798" y="674"/>
                </a:cubicBezTo>
                <a:cubicBezTo>
                  <a:pt x="798" y="647"/>
                  <a:pt x="812" y="633"/>
                  <a:pt x="833" y="633"/>
                </a:cubicBezTo>
                <a:cubicBezTo>
                  <a:pt x="855" y="633"/>
                  <a:pt x="868" y="647"/>
                  <a:pt x="868" y="674"/>
                </a:cubicBezTo>
                <a:cubicBezTo>
                  <a:pt x="868" y="787"/>
                  <a:pt x="868" y="787"/>
                  <a:pt x="868" y="787"/>
                </a:cubicBezTo>
                <a:cubicBezTo>
                  <a:pt x="925" y="787"/>
                  <a:pt x="925" y="787"/>
                  <a:pt x="925" y="787"/>
                </a:cubicBezTo>
                <a:cubicBezTo>
                  <a:pt x="925" y="656"/>
                  <a:pt x="925" y="656"/>
                  <a:pt x="925" y="656"/>
                </a:cubicBezTo>
                <a:cubicBezTo>
                  <a:pt x="925" y="610"/>
                  <a:pt x="900" y="581"/>
                  <a:pt x="857" y="581"/>
                </a:cubicBezTo>
                <a:close/>
                <a:moveTo>
                  <a:pt x="1155" y="686"/>
                </a:moveTo>
                <a:cubicBezTo>
                  <a:pt x="1155" y="686"/>
                  <a:pt x="1155" y="686"/>
                  <a:pt x="1155" y="686"/>
                </a:cubicBezTo>
                <a:cubicBezTo>
                  <a:pt x="1155" y="628"/>
                  <a:pt x="1109" y="581"/>
                  <a:pt x="1047" y="581"/>
                </a:cubicBezTo>
                <a:cubicBezTo>
                  <a:pt x="984" y="581"/>
                  <a:pt x="937" y="628"/>
                  <a:pt x="937" y="686"/>
                </a:cubicBezTo>
                <a:cubicBezTo>
                  <a:pt x="937" y="687"/>
                  <a:pt x="937" y="687"/>
                  <a:pt x="937" y="687"/>
                </a:cubicBezTo>
                <a:cubicBezTo>
                  <a:pt x="937" y="745"/>
                  <a:pt x="983" y="791"/>
                  <a:pt x="1046" y="791"/>
                </a:cubicBezTo>
                <a:cubicBezTo>
                  <a:pt x="1109" y="791"/>
                  <a:pt x="1155" y="744"/>
                  <a:pt x="1155" y="686"/>
                </a:cubicBezTo>
                <a:close/>
                <a:moveTo>
                  <a:pt x="993" y="686"/>
                </a:moveTo>
                <a:cubicBezTo>
                  <a:pt x="993" y="686"/>
                  <a:pt x="993" y="686"/>
                  <a:pt x="993" y="686"/>
                </a:cubicBezTo>
                <a:cubicBezTo>
                  <a:pt x="993" y="656"/>
                  <a:pt x="1013" y="631"/>
                  <a:pt x="1046" y="631"/>
                </a:cubicBezTo>
                <a:cubicBezTo>
                  <a:pt x="1077" y="631"/>
                  <a:pt x="1099" y="657"/>
                  <a:pt x="1099" y="686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099" y="717"/>
                  <a:pt x="1079" y="742"/>
                  <a:pt x="1047" y="742"/>
                </a:cubicBezTo>
                <a:cubicBezTo>
                  <a:pt x="1015" y="742"/>
                  <a:pt x="993" y="716"/>
                  <a:pt x="993" y="686"/>
                </a:cubicBezTo>
                <a:close/>
                <a:moveTo>
                  <a:pt x="1167" y="787"/>
                </a:moveTo>
                <a:cubicBezTo>
                  <a:pt x="1224" y="787"/>
                  <a:pt x="1224" y="787"/>
                  <a:pt x="1224" y="787"/>
                </a:cubicBezTo>
                <a:cubicBezTo>
                  <a:pt x="1224" y="512"/>
                  <a:pt x="1224" y="512"/>
                  <a:pt x="1224" y="512"/>
                </a:cubicBezTo>
                <a:cubicBezTo>
                  <a:pt x="1167" y="512"/>
                  <a:pt x="1167" y="512"/>
                  <a:pt x="1167" y="512"/>
                </a:cubicBezTo>
                <a:lnTo>
                  <a:pt x="1167" y="787"/>
                </a:lnTo>
                <a:close/>
                <a:moveTo>
                  <a:pt x="1345" y="581"/>
                </a:moveTo>
                <a:cubicBezTo>
                  <a:pt x="1282" y="581"/>
                  <a:pt x="1235" y="628"/>
                  <a:pt x="1235" y="68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5" y="745"/>
                  <a:pt x="1281" y="791"/>
                  <a:pt x="1344" y="791"/>
                </a:cubicBezTo>
                <a:cubicBezTo>
                  <a:pt x="1407" y="791"/>
                  <a:pt x="1453" y="744"/>
                  <a:pt x="1453" y="686"/>
                </a:cubicBezTo>
                <a:cubicBezTo>
                  <a:pt x="1453" y="686"/>
                  <a:pt x="1453" y="686"/>
                  <a:pt x="1453" y="686"/>
                </a:cubicBezTo>
                <a:cubicBezTo>
                  <a:pt x="1453" y="628"/>
                  <a:pt x="1407" y="581"/>
                  <a:pt x="1345" y="581"/>
                </a:cubicBezTo>
                <a:close/>
                <a:moveTo>
                  <a:pt x="1397" y="687"/>
                </a:moveTo>
                <a:cubicBezTo>
                  <a:pt x="1397" y="717"/>
                  <a:pt x="1377" y="742"/>
                  <a:pt x="1345" y="742"/>
                </a:cubicBezTo>
                <a:cubicBezTo>
                  <a:pt x="1313" y="742"/>
                  <a:pt x="1292" y="716"/>
                  <a:pt x="1292" y="686"/>
                </a:cubicBezTo>
                <a:cubicBezTo>
                  <a:pt x="1292" y="686"/>
                  <a:pt x="1292" y="686"/>
                  <a:pt x="1292" y="686"/>
                </a:cubicBezTo>
                <a:cubicBezTo>
                  <a:pt x="1292" y="656"/>
                  <a:pt x="1311" y="631"/>
                  <a:pt x="1344" y="631"/>
                </a:cubicBezTo>
                <a:cubicBezTo>
                  <a:pt x="1375" y="631"/>
                  <a:pt x="1397" y="657"/>
                  <a:pt x="1397" y="686"/>
                </a:cubicBezTo>
                <a:lnTo>
                  <a:pt x="1397" y="687"/>
                </a:lnTo>
                <a:close/>
                <a:moveTo>
                  <a:pt x="1560" y="802"/>
                </a:moveTo>
                <a:cubicBezTo>
                  <a:pt x="1533" y="802"/>
                  <a:pt x="1513" y="795"/>
                  <a:pt x="1492" y="784"/>
                </a:cubicBezTo>
                <a:cubicBezTo>
                  <a:pt x="1472" y="827"/>
                  <a:pt x="1472" y="827"/>
                  <a:pt x="1472" y="827"/>
                </a:cubicBezTo>
                <a:cubicBezTo>
                  <a:pt x="1498" y="840"/>
                  <a:pt x="1529" y="848"/>
                  <a:pt x="1562" y="848"/>
                </a:cubicBezTo>
                <a:cubicBezTo>
                  <a:pt x="1601" y="848"/>
                  <a:pt x="1630" y="840"/>
                  <a:pt x="1649" y="821"/>
                </a:cubicBezTo>
                <a:cubicBezTo>
                  <a:pt x="1666" y="804"/>
                  <a:pt x="1674" y="777"/>
                  <a:pt x="1674" y="741"/>
                </a:cubicBezTo>
                <a:cubicBezTo>
                  <a:pt x="1674" y="585"/>
                  <a:pt x="1674" y="585"/>
                  <a:pt x="1674" y="585"/>
                </a:cubicBezTo>
                <a:cubicBezTo>
                  <a:pt x="1617" y="585"/>
                  <a:pt x="1617" y="585"/>
                  <a:pt x="1617" y="585"/>
                </a:cubicBezTo>
                <a:cubicBezTo>
                  <a:pt x="1617" y="611"/>
                  <a:pt x="1617" y="611"/>
                  <a:pt x="1617" y="611"/>
                </a:cubicBezTo>
                <a:cubicBezTo>
                  <a:pt x="1602" y="594"/>
                  <a:pt x="1583" y="581"/>
                  <a:pt x="1552" y="581"/>
                </a:cubicBezTo>
                <a:cubicBezTo>
                  <a:pt x="1505" y="581"/>
                  <a:pt x="1462" y="615"/>
                  <a:pt x="1462" y="675"/>
                </a:cubicBezTo>
                <a:cubicBezTo>
                  <a:pt x="1462" y="676"/>
                  <a:pt x="1462" y="676"/>
                  <a:pt x="1462" y="676"/>
                </a:cubicBezTo>
                <a:cubicBezTo>
                  <a:pt x="1462" y="736"/>
                  <a:pt x="1505" y="770"/>
                  <a:pt x="1552" y="770"/>
                </a:cubicBezTo>
                <a:cubicBezTo>
                  <a:pt x="1582" y="770"/>
                  <a:pt x="1601" y="758"/>
                  <a:pt x="1618" y="737"/>
                </a:cubicBezTo>
                <a:cubicBezTo>
                  <a:pt x="1618" y="747"/>
                  <a:pt x="1618" y="747"/>
                  <a:pt x="1618" y="747"/>
                </a:cubicBezTo>
                <a:cubicBezTo>
                  <a:pt x="1618" y="783"/>
                  <a:pt x="1599" y="802"/>
                  <a:pt x="1560" y="802"/>
                </a:cubicBezTo>
                <a:close/>
                <a:moveTo>
                  <a:pt x="1568" y="723"/>
                </a:moveTo>
                <a:cubicBezTo>
                  <a:pt x="1541" y="723"/>
                  <a:pt x="1519" y="704"/>
                  <a:pt x="1519" y="676"/>
                </a:cubicBezTo>
                <a:cubicBezTo>
                  <a:pt x="1519" y="675"/>
                  <a:pt x="1519" y="675"/>
                  <a:pt x="1519" y="675"/>
                </a:cubicBezTo>
                <a:cubicBezTo>
                  <a:pt x="1519" y="648"/>
                  <a:pt x="1541" y="629"/>
                  <a:pt x="1568" y="629"/>
                </a:cubicBezTo>
                <a:cubicBezTo>
                  <a:pt x="1596" y="629"/>
                  <a:pt x="1618" y="648"/>
                  <a:pt x="1618" y="675"/>
                </a:cubicBezTo>
                <a:cubicBezTo>
                  <a:pt x="1618" y="676"/>
                  <a:pt x="1618" y="676"/>
                  <a:pt x="1618" y="676"/>
                </a:cubicBezTo>
                <a:cubicBezTo>
                  <a:pt x="1618" y="704"/>
                  <a:pt x="1596" y="723"/>
                  <a:pt x="1568" y="723"/>
                </a:cubicBezTo>
                <a:close/>
                <a:moveTo>
                  <a:pt x="1790" y="722"/>
                </a:moveTo>
                <a:cubicBezTo>
                  <a:pt x="1744" y="585"/>
                  <a:pt x="1744" y="585"/>
                  <a:pt x="1744" y="585"/>
                </a:cubicBezTo>
                <a:cubicBezTo>
                  <a:pt x="1684" y="585"/>
                  <a:pt x="1684" y="585"/>
                  <a:pt x="1684" y="585"/>
                </a:cubicBezTo>
                <a:cubicBezTo>
                  <a:pt x="1763" y="788"/>
                  <a:pt x="1763" y="788"/>
                  <a:pt x="1763" y="788"/>
                </a:cubicBezTo>
                <a:cubicBezTo>
                  <a:pt x="1758" y="798"/>
                  <a:pt x="1753" y="801"/>
                  <a:pt x="1743" y="801"/>
                </a:cubicBezTo>
                <a:cubicBezTo>
                  <a:pt x="1735" y="801"/>
                  <a:pt x="1726" y="797"/>
                  <a:pt x="1718" y="793"/>
                </a:cubicBezTo>
                <a:cubicBezTo>
                  <a:pt x="1699" y="834"/>
                  <a:pt x="1699" y="834"/>
                  <a:pt x="1699" y="834"/>
                </a:cubicBezTo>
                <a:cubicBezTo>
                  <a:pt x="1714" y="843"/>
                  <a:pt x="1729" y="848"/>
                  <a:pt x="1750" y="848"/>
                </a:cubicBezTo>
                <a:cubicBezTo>
                  <a:pt x="1784" y="848"/>
                  <a:pt x="1801" y="833"/>
                  <a:pt x="1816" y="792"/>
                </a:cubicBezTo>
                <a:cubicBezTo>
                  <a:pt x="1894" y="585"/>
                  <a:pt x="1894" y="585"/>
                  <a:pt x="1894" y="585"/>
                </a:cubicBezTo>
                <a:cubicBezTo>
                  <a:pt x="1834" y="585"/>
                  <a:pt x="1834" y="585"/>
                  <a:pt x="1834" y="585"/>
                </a:cubicBezTo>
                <a:lnTo>
                  <a:pt x="1790" y="722"/>
                </a:lnTo>
                <a:close/>
                <a:moveTo>
                  <a:pt x="1101" y="965"/>
                </a:moveTo>
                <a:cubicBezTo>
                  <a:pt x="1054" y="965"/>
                  <a:pt x="1054" y="965"/>
                  <a:pt x="1054" y="965"/>
                </a:cubicBezTo>
                <a:cubicBezTo>
                  <a:pt x="1054" y="957"/>
                  <a:pt x="1054" y="957"/>
                  <a:pt x="1054" y="957"/>
                </a:cubicBezTo>
                <a:cubicBezTo>
                  <a:pt x="1054" y="942"/>
                  <a:pt x="1062" y="935"/>
                  <a:pt x="1075" y="935"/>
                </a:cubicBezTo>
                <a:cubicBezTo>
                  <a:pt x="1085" y="935"/>
                  <a:pt x="1093" y="937"/>
                  <a:pt x="1101" y="940"/>
                </a:cubicBezTo>
                <a:cubicBezTo>
                  <a:pt x="1101" y="893"/>
                  <a:pt x="1101" y="893"/>
                  <a:pt x="1101" y="893"/>
                </a:cubicBezTo>
                <a:cubicBezTo>
                  <a:pt x="1091" y="889"/>
                  <a:pt x="1078" y="887"/>
                  <a:pt x="1060" y="887"/>
                </a:cubicBezTo>
                <a:cubicBezTo>
                  <a:pt x="1040" y="887"/>
                  <a:pt x="1025" y="892"/>
                  <a:pt x="1014" y="903"/>
                </a:cubicBezTo>
                <a:cubicBezTo>
                  <a:pt x="1004" y="914"/>
                  <a:pt x="998" y="930"/>
                  <a:pt x="998" y="952"/>
                </a:cubicBezTo>
                <a:cubicBezTo>
                  <a:pt x="998" y="965"/>
                  <a:pt x="998" y="965"/>
                  <a:pt x="998" y="965"/>
                </a:cubicBezTo>
                <a:cubicBezTo>
                  <a:pt x="974" y="965"/>
                  <a:pt x="974" y="965"/>
                  <a:pt x="974" y="965"/>
                </a:cubicBezTo>
                <a:cubicBezTo>
                  <a:pt x="974" y="1012"/>
                  <a:pt x="974" y="1012"/>
                  <a:pt x="974" y="1012"/>
                </a:cubicBezTo>
                <a:cubicBezTo>
                  <a:pt x="998" y="1012"/>
                  <a:pt x="998" y="1012"/>
                  <a:pt x="998" y="1012"/>
                </a:cubicBezTo>
                <a:cubicBezTo>
                  <a:pt x="998" y="1165"/>
                  <a:pt x="998" y="1165"/>
                  <a:pt x="998" y="1165"/>
                </a:cubicBezTo>
                <a:cubicBezTo>
                  <a:pt x="1055" y="1165"/>
                  <a:pt x="1055" y="1165"/>
                  <a:pt x="1055" y="1165"/>
                </a:cubicBezTo>
                <a:cubicBezTo>
                  <a:pt x="1055" y="1012"/>
                  <a:pt x="1055" y="1012"/>
                  <a:pt x="1055" y="1012"/>
                </a:cubicBezTo>
                <a:cubicBezTo>
                  <a:pt x="1101" y="1012"/>
                  <a:pt x="1101" y="1012"/>
                  <a:pt x="1101" y="1012"/>
                </a:cubicBezTo>
                <a:lnTo>
                  <a:pt x="1101" y="965"/>
                </a:lnTo>
                <a:close/>
                <a:moveTo>
                  <a:pt x="1209" y="959"/>
                </a:moveTo>
                <a:cubicBezTo>
                  <a:pt x="1147" y="959"/>
                  <a:pt x="1100" y="1006"/>
                  <a:pt x="1100" y="1064"/>
                </a:cubicBezTo>
                <a:cubicBezTo>
                  <a:pt x="1100" y="1065"/>
                  <a:pt x="1100" y="1065"/>
                  <a:pt x="1100" y="1065"/>
                </a:cubicBezTo>
                <a:cubicBezTo>
                  <a:pt x="1100" y="1123"/>
                  <a:pt x="1146" y="1169"/>
                  <a:pt x="1209" y="1169"/>
                </a:cubicBezTo>
                <a:cubicBezTo>
                  <a:pt x="1272" y="1169"/>
                  <a:pt x="1318" y="1122"/>
                  <a:pt x="1318" y="1064"/>
                </a:cubicBezTo>
                <a:cubicBezTo>
                  <a:pt x="1318" y="1063"/>
                  <a:pt x="1318" y="1063"/>
                  <a:pt x="1318" y="1063"/>
                </a:cubicBezTo>
                <a:cubicBezTo>
                  <a:pt x="1318" y="1005"/>
                  <a:pt x="1272" y="959"/>
                  <a:pt x="1209" y="959"/>
                </a:cubicBezTo>
                <a:close/>
                <a:moveTo>
                  <a:pt x="1262" y="1065"/>
                </a:moveTo>
                <a:cubicBezTo>
                  <a:pt x="1262" y="1095"/>
                  <a:pt x="1242" y="1120"/>
                  <a:pt x="1209" y="1120"/>
                </a:cubicBezTo>
                <a:cubicBezTo>
                  <a:pt x="1178" y="1120"/>
                  <a:pt x="1156" y="1094"/>
                  <a:pt x="1156" y="1064"/>
                </a:cubicBezTo>
                <a:cubicBezTo>
                  <a:pt x="1156" y="1063"/>
                  <a:pt x="1156" y="1063"/>
                  <a:pt x="1156" y="1063"/>
                </a:cubicBezTo>
                <a:cubicBezTo>
                  <a:pt x="1156" y="1034"/>
                  <a:pt x="1176" y="1008"/>
                  <a:pt x="1209" y="1008"/>
                </a:cubicBezTo>
                <a:cubicBezTo>
                  <a:pt x="1240" y="1008"/>
                  <a:pt x="1262" y="1034"/>
                  <a:pt x="1262" y="1064"/>
                </a:cubicBezTo>
                <a:lnTo>
                  <a:pt x="1262" y="1065"/>
                </a:lnTo>
                <a:close/>
                <a:moveTo>
                  <a:pt x="1389" y="1004"/>
                </a:moveTo>
                <a:cubicBezTo>
                  <a:pt x="1389" y="963"/>
                  <a:pt x="1389" y="963"/>
                  <a:pt x="1389" y="963"/>
                </a:cubicBezTo>
                <a:cubicBezTo>
                  <a:pt x="1332" y="963"/>
                  <a:pt x="1332" y="963"/>
                  <a:pt x="1332" y="963"/>
                </a:cubicBezTo>
                <a:cubicBezTo>
                  <a:pt x="1332" y="1165"/>
                  <a:pt x="1332" y="1165"/>
                  <a:pt x="1332" y="1165"/>
                </a:cubicBezTo>
                <a:cubicBezTo>
                  <a:pt x="1389" y="1165"/>
                  <a:pt x="1389" y="1165"/>
                  <a:pt x="1389" y="1165"/>
                </a:cubicBezTo>
                <a:cubicBezTo>
                  <a:pt x="1389" y="1090"/>
                  <a:pt x="1389" y="1090"/>
                  <a:pt x="1389" y="1090"/>
                </a:cubicBezTo>
                <a:cubicBezTo>
                  <a:pt x="1389" y="1042"/>
                  <a:pt x="1412" y="1019"/>
                  <a:pt x="1450" y="1019"/>
                </a:cubicBezTo>
                <a:cubicBezTo>
                  <a:pt x="1453" y="1019"/>
                  <a:pt x="1453" y="1019"/>
                  <a:pt x="1453" y="1019"/>
                </a:cubicBezTo>
                <a:cubicBezTo>
                  <a:pt x="1453" y="959"/>
                  <a:pt x="1453" y="959"/>
                  <a:pt x="1453" y="959"/>
                </a:cubicBezTo>
                <a:cubicBezTo>
                  <a:pt x="1419" y="958"/>
                  <a:pt x="1400" y="976"/>
                  <a:pt x="1389" y="1004"/>
                </a:cubicBezTo>
                <a:close/>
                <a:moveTo>
                  <a:pt x="1622" y="961"/>
                </a:moveTo>
                <a:cubicBezTo>
                  <a:pt x="1588" y="961"/>
                  <a:pt x="1566" y="967"/>
                  <a:pt x="1544" y="977"/>
                </a:cubicBezTo>
                <a:cubicBezTo>
                  <a:pt x="1558" y="1020"/>
                  <a:pt x="1558" y="1020"/>
                  <a:pt x="1558" y="1020"/>
                </a:cubicBezTo>
                <a:cubicBezTo>
                  <a:pt x="1576" y="1014"/>
                  <a:pt x="1592" y="1010"/>
                  <a:pt x="1614" y="1010"/>
                </a:cubicBezTo>
                <a:cubicBezTo>
                  <a:pt x="1642" y="1010"/>
                  <a:pt x="1657" y="1023"/>
                  <a:pt x="1657" y="1046"/>
                </a:cubicBezTo>
                <a:cubicBezTo>
                  <a:pt x="1657" y="1050"/>
                  <a:pt x="1657" y="1050"/>
                  <a:pt x="1657" y="1050"/>
                </a:cubicBezTo>
                <a:cubicBezTo>
                  <a:pt x="1643" y="1045"/>
                  <a:pt x="1628" y="1042"/>
                  <a:pt x="1608" y="1042"/>
                </a:cubicBezTo>
                <a:cubicBezTo>
                  <a:pt x="1560" y="1042"/>
                  <a:pt x="1526" y="1062"/>
                  <a:pt x="1526" y="1106"/>
                </a:cubicBezTo>
                <a:cubicBezTo>
                  <a:pt x="1526" y="1107"/>
                  <a:pt x="1526" y="1107"/>
                  <a:pt x="1526" y="1107"/>
                </a:cubicBezTo>
                <a:cubicBezTo>
                  <a:pt x="1526" y="1147"/>
                  <a:pt x="1558" y="1168"/>
                  <a:pt x="1596" y="1168"/>
                </a:cubicBezTo>
                <a:cubicBezTo>
                  <a:pt x="1624" y="1168"/>
                  <a:pt x="1643" y="1158"/>
                  <a:pt x="1657" y="1143"/>
                </a:cubicBezTo>
                <a:cubicBezTo>
                  <a:pt x="1657" y="1165"/>
                  <a:pt x="1657" y="1165"/>
                  <a:pt x="1657" y="1165"/>
                </a:cubicBezTo>
                <a:cubicBezTo>
                  <a:pt x="1712" y="1165"/>
                  <a:pt x="1712" y="1165"/>
                  <a:pt x="1712" y="1165"/>
                </a:cubicBezTo>
                <a:cubicBezTo>
                  <a:pt x="1712" y="1048"/>
                  <a:pt x="1712" y="1048"/>
                  <a:pt x="1712" y="1048"/>
                </a:cubicBezTo>
                <a:cubicBezTo>
                  <a:pt x="1712" y="1020"/>
                  <a:pt x="1705" y="998"/>
                  <a:pt x="1690" y="983"/>
                </a:cubicBezTo>
                <a:cubicBezTo>
                  <a:pt x="1676" y="969"/>
                  <a:pt x="1653" y="961"/>
                  <a:pt x="1622" y="961"/>
                </a:cubicBezTo>
                <a:close/>
                <a:moveTo>
                  <a:pt x="1658" y="1094"/>
                </a:moveTo>
                <a:cubicBezTo>
                  <a:pt x="1658" y="1114"/>
                  <a:pt x="1640" y="1129"/>
                  <a:pt x="1613" y="1129"/>
                </a:cubicBezTo>
                <a:cubicBezTo>
                  <a:pt x="1595" y="1129"/>
                  <a:pt x="1582" y="1120"/>
                  <a:pt x="1582" y="1104"/>
                </a:cubicBezTo>
                <a:cubicBezTo>
                  <a:pt x="1582" y="1104"/>
                  <a:pt x="1582" y="1104"/>
                  <a:pt x="1582" y="1104"/>
                </a:cubicBezTo>
                <a:cubicBezTo>
                  <a:pt x="1582" y="1086"/>
                  <a:pt x="1597" y="1076"/>
                  <a:pt x="1621" y="1076"/>
                </a:cubicBezTo>
                <a:cubicBezTo>
                  <a:pt x="1635" y="1076"/>
                  <a:pt x="1648" y="1079"/>
                  <a:pt x="1658" y="1083"/>
                </a:cubicBezTo>
                <a:lnTo>
                  <a:pt x="1658" y="1094"/>
                </a:lnTo>
                <a:close/>
                <a:moveTo>
                  <a:pt x="1736" y="1165"/>
                </a:moveTo>
                <a:cubicBezTo>
                  <a:pt x="1793" y="1165"/>
                  <a:pt x="1793" y="1165"/>
                  <a:pt x="1793" y="1165"/>
                </a:cubicBezTo>
                <a:cubicBezTo>
                  <a:pt x="1793" y="890"/>
                  <a:pt x="1793" y="890"/>
                  <a:pt x="1793" y="890"/>
                </a:cubicBezTo>
                <a:cubicBezTo>
                  <a:pt x="1736" y="890"/>
                  <a:pt x="1736" y="890"/>
                  <a:pt x="1736" y="890"/>
                </a:cubicBezTo>
                <a:lnTo>
                  <a:pt x="1736" y="1165"/>
                </a:lnTo>
                <a:close/>
                <a:moveTo>
                  <a:pt x="1817" y="1165"/>
                </a:moveTo>
                <a:cubicBezTo>
                  <a:pt x="1874" y="1165"/>
                  <a:pt x="1874" y="1165"/>
                  <a:pt x="1874" y="1165"/>
                </a:cubicBezTo>
                <a:cubicBezTo>
                  <a:pt x="1874" y="890"/>
                  <a:pt x="1874" y="890"/>
                  <a:pt x="1874" y="890"/>
                </a:cubicBezTo>
                <a:cubicBezTo>
                  <a:pt x="1817" y="890"/>
                  <a:pt x="1817" y="890"/>
                  <a:pt x="1817" y="890"/>
                </a:cubicBezTo>
                <a:lnTo>
                  <a:pt x="1817" y="1165"/>
                </a:lnTo>
                <a:close/>
                <a:moveTo>
                  <a:pt x="2086" y="0"/>
                </a:moveTo>
                <a:cubicBezTo>
                  <a:pt x="2086" y="1832"/>
                  <a:pt x="2086" y="1832"/>
                  <a:pt x="2086" y="1832"/>
                </a:cubicBezTo>
                <a:cubicBezTo>
                  <a:pt x="2697" y="1832"/>
                  <a:pt x="2697" y="1832"/>
                  <a:pt x="2697" y="1832"/>
                </a:cubicBezTo>
                <a:cubicBezTo>
                  <a:pt x="2697" y="0"/>
                  <a:pt x="2697" y="0"/>
                  <a:pt x="2697" y="0"/>
                </a:cubicBezTo>
                <a:lnTo>
                  <a:pt x="2086" y="0"/>
                </a:lnTo>
                <a:close/>
              </a:path>
            </a:pathLst>
          </a:custGeom>
          <a:solidFill>
            <a:srgbClr val="5B9BD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933" dirty="0">
              <a:solidFill>
                <a:srgbClr val="001428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BD9FA3A-719D-4312-85A6-533BC61D33D3}"/>
              </a:ext>
            </a:extLst>
          </p:cNvPr>
          <p:cNvGrpSpPr/>
          <p:nvPr userDrawn="1"/>
        </p:nvGrpSpPr>
        <p:grpSpPr>
          <a:xfrm>
            <a:off x="11291887" y="14606667"/>
            <a:ext cx="590550" cy="21081648"/>
            <a:chOff x="11291887" y="1987551"/>
            <a:chExt cx="590550" cy="2868613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DE4CA60-58EA-4EB1-AFB6-FB7A601BB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18887" y="3471864"/>
              <a:ext cx="455612" cy="452438"/>
            </a:xfrm>
            <a:custGeom>
              <a:avLst/>
              <a:gdLst>
                <a:gd name="T0" fmla="*/ 0 w 239"/>
                <a:gd name="T1" fmla="*/ 96 h 237"/>
                <a:gd name="T2" fmla="*/ 38 w 239"/>
                <a:gd name="T3" fmla="*/ 173 h 237"/>
                <a:gd name="T4" fmla="*/ 38 w 239"/>
                <a:gd name="T5" fmla="*/ 173 h 237"/>
                <a:gd name="T6" fmla="*/ 38 w 239"/>
                <a:gd name="T7" fmla="*/ 173 h 237"/>
                <a:gd name="T8" fmla="*/ 4 w 239"/>
                <a:gd name="T9" fmla="*/ 173 h 237"/>
                <a:gd name="T10" fmla="*/ 4 w 239"/>
                <a:gd name="T11" fmla="*/ 237 h 237"/>
                <a:gd name="T12" fmla="*/ 239 w 239"/>
                <a:gd name="T13" fmla="*/ 237 h 237"/>
                <a:gd name="T14" fmla="*/ 239 w 239"/>
                <a:gd name="T15" fmla="*/ 173 h 237"/>
                <a:gd name="T16" fmla="*/ 105 w 239"/>
                <a:gd name="T17" fmla="*/ 173 h 237"/>
                <a:gd name="T18" fmla="*/ 56 w 239"/>
                <a:gd name="T19" fmla="*/ 119 h 237"/>
                <a:gd name="T20" fmla="*/ 105 w 239"/>
                <a:gd name="T21" fmla="*/ 65 h 237"/>
                <a:gd name="T22" fmla="*/ 239 w 239"/>
                <a:gd name="T23" fmla="*/ 65 h 237"/>
                <a:gd name="T24" fmla="*/ 239 w 239"/>
                <a:gd name="T25" fmla="*/ 0 h 237"/>
                <a:gd name="T26" fmla="*/ 93 w 239"/>
                <a:gd name="T27" fmla="*/ 0 h 237"/>
                <a:gd name="T28" fmla="*/ 0 w 239"/>
                <a:gd name="T29" fmla="*/ 9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9" h="237">
                  <a:moveTo>
                    <a:pt x="0" y="96"/>
                  </a:moveTo>
                  <a:cubicBezTo>
                    <a:pt x="0" y="123"/>
                    <a:pt x="13" y="154"/>
                    <a:pt x="38" y="173"/>
                  </a:cubicBezTo>
                  <a:cubicBezTo>
                    <a:pt x="38" y="173"/>
                    <a:pt x="38" y="173"/>
                    <a:pt x="38" y="173"/>
                  </a:cubicBezTo>
                  <a:cubicBezTo>
                    <a:pt x="38" y="173"/>
                    <a:pt x="38" y="173"/>
                    <a:pt x="38" y="173"/>
                  </a:cubicBezTo>
                  <a:cubicBezTo>
                    <a:pt x="4" y="173"/>
                    <a:pt x="4" y="173"/>
                    <a:pt x="4" y="173"/>
                  </a:cubicBezTo>
                  <a:cubicBezTo>
                    <a:pt x="4" y="237"/>
                    <a:pt x="4" y="237"/>
                    <a:pt x="4" y="237"/>
                  </a:cubicBezTo>
                  <a:cubicBezTo>
                    <a:pt x="239" y="237"/>
                    <a:pt x="239" y="237"/>
                    <a:pt x="239" y="237"/>
                  </a:cubicBezTo>
                  <a:cubicBezTo>
                    <a:pt x="239" y="173"/>
                    <a:pt x="239" y="173"/>
                    <a:pt x="239" y="173"/>
                  </a:cubicBezTo>
                  <a:cubicBezTo>
                    <a:pt x="105" y="173"/>
                    <a:pt x="105" y="173"/>
                    <a:pt x="105" y="173"/>
                  </a:cubicBezTo>
                  <a:cubicBezTo>
                    <a:pt x="81" y="173"/>
                    <a:pt x="56" y="154"/>
                    <a:pt x="56" y="119"/>
                  </a:cubicBezTo>
                  <a:cubicBezTo>
                    <a:pt x="56" y="93"/>
                    <a:pt x="74" y="65"/>
                    <a:pt x="105" y="65"/>
                  </a:cubicBezTo>
                  <a:cubicBezTo>
                    <a:pt x="239" y="65"/>
                    <a:pt x="239" y="65"/>
                    <a:pt x="239" y="65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39" y="0"/>
                    <a:pt x="0" y="39"/>
                    <a:pt x="0" y="9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7E4EB28-FB81-4DE8-AD93-A977C67F53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5237" y="2452689"/>
              <a:ext cx="449262" cy="506413"/>
            </a:xfrm>
            <a:custGeom>
              <a:avLst/>
              <a:gdLst>
                <a:gd name="T0" fmla="*/ 0 w 283"/>
                <a:gd name="T1" fmla="*/ 89 h 319"/>
                <a:gd name="T2" fmla="*/ 193 w 283"/>
                <a:gd name="T3" fmla="*/ 159 h 319"/>
                <a:gd name="T4" fmla="*/ 0 w 283"/>
                <a:gd name="T5" fmla="*/ 229 h 319"/>
                <a:gd name="T6" fmla="*/ 0 w 283"/>
                <a:gd name="T7" fmla="*/ 319 h 319"/>
                <a:gd name="T8" fmla="*/ 283 w 283"/>
                <a:gd name="T9" fmla="*/ 202 h 319"/>
                <a:gd name="T10" fmla="*/ 283 w 283"/>
                <a:gd name="T11" fmla="*/ 117 h 319"/>
                <a:gd name="T12" fmla="*/ 0 w 283"/>
                <a:gd name="T13" fmla="*/ 0 h 319"/>
                <a:gd name="T14" fmla="*/ 0 w 283"/>
                <a:gd name="T15" fmla="*/ 8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3" h="319">
                  <a:moveTo>
                    <a:pt x="0" y="89"/>
                  </a:moveTo>
                  <a:lnTo>
                    <a:pt x="193" y="159"/>
                  </a:lnTo>
                  <a:lnTo>
                    <a:pt x="0" y="229"/>
                  </a:lnTo>
                  <a:lnTo>
                    <a:pt x="0" y="319"/>
                  </a:lnTo>
                  <a:lnTo>
                    <a:pt x="283" y="202"/>
                  </a:lnTo>
                  <a:lnTo>
                    <a:pt x="283" y="117"/>
                  </a:lnTo>
                  <a:lnTo>
                    <a:pt x="0" y="0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B3C4138-764B-443B-8CDD-2E7E30EB03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18887" y="3968751"/>
              <a:ext cx="463550" cy="471488"/>
            </a:xfrm>
            <a:custGeom>
              <a:avLst/>
              <a:gdLst>
                <a:gd name="T0" fmla="*/ 167 w 243"/>
                <a:gd name="T1" fmla="*/ 46 h 246"/>
                <a:gd name="T2" fmla="*/ 192 w 243"/>
                <a:gd name="T3" fmla="*/ 113 h 246"/>
                <a:gd name="T4" fmla="*/ 173 w 243"/>
                <a:gd name="T5" fmla="*/ 165 h 246"/>
                <a:gd name="T6" fmla="*/ 104 w 243"/>
                <a:gd name="T7" fmla="*/ 0 h 246"/>
                <a:gd name="T8" fmla="*/ 39 w 243"/>
                <a:gd name="T9" fmla="*/ 28 h 246"/>
                <a:gd name="T10" fmla="*/ 0 w 243"/>
                <a:gd name="T11" fmla="*/ 121 h 246"/>
                <a:gd name="T12" fmla="*/ 122 w 243"/>
                <a:gd name="T13" fmla="*/ 246 h 246"/>
                <a:gd name="T14" fmla="*/ 243 w 243"/>
                <a:gd name="T15" fmla="*/ 114 h 246"/>
                <a:gd name="T16" fmla="*/ 198 w 243"/>
                <a:gd name="T17" fmla="*/ 5 h 246"/>
                <a:gd name="T18" fmla="*/ 167 w 243"/>
                <a:gd name="T19" fmla="*/ 46 h 246"/>
                <a:gd name="T20" fmla="*/ 75 w 243"/>
                <a:gd name="T21" fmla="*/ 170 h 246"/>
                <a:gd name="T22" fmla="*/ 51 w 243"/>
                <a:gd name="T23" fmla="*/ 120 h 246"/>
                <a:gd name="T24" fmla="*/ 84 w 243"/>
                <a:gd name="T25" fmla="*/ 70 h 246"/>
                <a:gd name="T26" fmla="*/ 131 w 243"/>
                <a:gd name="T27" fmla="*/ 183 h 246"/>
                <a:gd name="T28" fmla="*/ 75 w 243"/>
                <a:gd name="T29" fmla="*/ 17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" h="246">
                  <a:moveTo>
                    <a:pt x="167" y="46"/>
                  </a:moveTo>
                  <a:cubicBezTo>
                    <a:pt x="187" y="73"/>
                    <a:pt x="192" y="88"/>
                    <a:pt x="192" y="113"/>
                  </a:cubicBezTo>
                  <a:cubicBezTo>
                    <a:pt x="192" y="135"/>
                    <a:pt x="185" y="153"/>
                    <a:pt x="173" y="165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79" y="4"/>
                    <a:pt x="56" y="14"/>
                    <a:pt x="39" y="28"/>
                  </a:cubicBezTo>
                  <a:cubicBezTo>
                    <a:pt x="13" y="50"/>
                    <a:pt x="0" y="82"/>
                    <a:pt x="0" y="121"/>
                  </a:cubicBezTo>
                  <a:cubicBezTo>
                    <a:pt x="0" y="192"/>
                    <a:pt x="52" y="246"/>
                    <a:pt x="122" y="246"/>
                  </a:cubicBezTo>
                  <a:cubicBezTo>
                    <a:pt x="193" y="246"/>
                    <a:pt x="243" y="192"/>
                    <a:pt x="243" y="114"/>
                  </a:cubicBezTo>
                  <a:cubicBezTo>
                    <a:pt x="243" y="70"/>
                    <a:pt x="222" y="26"/>
                    <a:pt x="198" y="5"/>
                  </a:cubicBezTo>
                  <a:lnTo>
                    <a:pt x="167" y="46"/>
                  </a:lnTo>
                  <a:close/>
                  <a:moveTo>
                    <a:pt x="75" y="170"/>
                  </a:moveTo>
                  <a:cubicBezTo>
                    <a:pt x="60" y="159"/>
                    <a:pt x="51" y="141"/>
                    <a:pt x="51" y="120"/>
                  </a:cubicBezTo>
                  <a:cubicBezTo>
                    <a:pt x="51" y="97"/>
                    <a:pt x="65" y="79"/>
                    <a:pt x="84" y="70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07" y="186"/>
                    <a:pt x="88" y="180"/>
                    <a:pt x="75" y="17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4EAD685-9BD8-483A-98EA-90A681FB4D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91887" y="4451351"/>
              <a:ext cx="582612" cy="404813"/>
            </a:xfrm>
            <a:custGeom>
              <a:avLst/>
              <a:gdLst>
                <a:gd name="T0" fmla="*/ 296 w 367"/>
                <a:gd name="T1" fmla="*/ 0 h 255"/>
                <a:gd name="T2" fmla="*/ 296 w 367"/>
                <a:gd name="T3" fmla="*/ 177 h 255"/>
                <a:gd name="T4" fmla="*/ 0 w 367"/>
                <a:gd name="T5" fmla="*/ 177 h 255"/>
                <a:gd name="T6" fmla="*/ 0 w 367"/>
                <a:gd name="T7" fmla="*/ 255 h 255"/>
                <a:gd name="T8" fmla="*/ 367 w 367"/>
                <a:gd name="T9" fmla="*/ 255 h 255"/>
                <a:gd name="T10" fmla="*/ 367 w 367"/>
                <a:gd name="T11" fmla="*/ 0 h 255"/>
                <a:gd name="T12" fmla="*/ 296 w 367"/>
                <a:gd name="T13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7" h="255">
                  <a:moveTo>
                    <a:pt x="296" y="0"/>
                  </a:moveTo>
                  <a:lnTo>
                    <a:pt x="296" y="177"/>
                  </a:lnTo>
                  <a:lnTo>
                    <a:pt x="0" y="177"/>
                  </a:lnTo>
                  <a:lnTo>
                    <a:pt x="0" y="255"/>
                  </a:lnTo>
                  <a:lnTo>
                    <a:pt x="367" y="255"/>
                  </a:lnTo>
                  <a:lnTo>
                    <a:pt x="367" y="0"/>
                  </a:lnTo>
                  <a:lnTo>
                    <a:pt x="29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B7B79773-DE64-4E58-BD66-37C5AD48CC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18887" y="1987551"/>
              <a:ext cx="463550" cy="484188"/>
            </a:xfrm>
            <a:custGeom>
              <a:avLst/>
              <a:gdLst>
                <a:gd name="T0" fmla="*/ 243 w 243"/>
                <a:gd name="T1" fmla="*/ 127 h 253"/>
                <a:gd name="T2" fmla="*/ 122 w 243"/>
                <a:gd name="T3" fmla="*/ 253 h 253"/>
                <a:gd name="T4" fmla="*/ 0 w 243"/>
                <a:gd name="T5" fmla="*/ 126 h 253"/>
                <a:gd name="T6" fmla="*/ 122 w 243"/>
                <a:gd name="T7" fmla="*/ 0 h 253"/>
                <a:gd name="T8" fmla="*/ 243 w 243"/>
                <a:gd name="T9" fmla="*/ 127 h 253"/>
                <a:gd name="T10" fmla="*/ 55 w 243"/>
                <a:gd name="T11" fmla="*/ 127 h 253"/>
                <a:gd name="T12" fmla="*/ 122 w 243"/>
                <a:gd name="T13" fmla="*/ 189 h 253"/>
                <a:gd name="T14" fmla="*/ 188 w 243"/>
                <a:gd name="T15" fmla="*/ 126 h 253"/>
                <a:gd name="T16" fmla="*/ 122 w 243"/>
                <a:gd name="T17" fmla="*/ 64 h 253"/>
                <a:gd name="T18" fmla="*/ 55 w 243"/>
                <a:gd name="T19" fmla="*/ 12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253">
                  <a:moveTo>
                    <a:pt x="243" y="127"/>
                  </a:moveTo>
                  <a:cubicBezTo>
                    <a:pt x="243" y="198"/>
                    <a:pt x="190" y="253"/>
                    <a:pt x="122" y="253"/>
                  </a:cubicBezTo>
                  <a:cubicBezTo>
                    <a:pt x="53" y="253"/>
                    <a:pt x="0" y="197"/>
                    <a:pt x="0" y="126"/>
                  </a:cubicBezTo>
                  <a:cubicBezTo>
                    <a:pt x="0" y="56"/>
                    <a:pt x="53" y="0"/>
                    <a:pt x="122" y="0"/>
                  </a:cubicBezTo>
                  <a:cubicBezTo>
                    <a:pt x="190" y="0"/>
                    <a:pt x="243" y="56"/>
                    <a:pt x="243" y="127"/>
                  </a:cubicBezTo>
                  <a:moveTo>
                    <a:pt x="55" y="127"/>
                  </a:moveTo>
                  <a:cubicBezTo>
                    <a:pt x="55" y="163"/>
                    <a:pt x="83" y="189"/>
                    <a:pt x="122" y="189"/>
                  </a:cubicBezTo>
                  <a:cubicBezTo>
                    <a:pt x="159" y="189"/>
                    <a:pt x="188" y="162"/>
                    <a:pt x="188" y="126"/>
                  </a:cubicBezTo>
                  <a:cubicBezTo>
                    <a:pt x="188" y="90"/>
                    <a:pt x="160" y="64"/>
                    <a:pt x="122" y="64"/>
                  </a:cubicBezTo>
                  <a:cubicBezTo>
                    <a:pt x="85" y="64"/>
                    <a:pt x="55" y="92"/>
                    <a:pt x="55" y="12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5FBF8CC-8CD8-4A45-B079-2EBAE2F88A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18887" y="2938464"/>
              <a:ext cx="463550" cy="484188"/>
            </a:xfrm>
            <a:custGeom>
              <a:avLst/>
              <a:gdLst>
                <a:gd name="T0" fmla="*/ 243 w 243"/>
                <a:gd name="T1" fmla="*/ 127 h 253"/>
                <a:gd name="T2" fmla="*/ 122 w 243"/>
                <a:gd name="T3" fmla="*/ 253 h 253"/>
                <a:gd name="T4" fmla="*/ 0 w 243"/>
                <a:gd name="T5" fmla="*/ 126 h 253"/>
                <a:gd name="T6" fmla="*/ 122 w 243"/>
                <a:gd name="T7" fmla="*/ 0 h 253"/>
                <a:gd name="T8" fmla="*/ 243 w 243"/>
                <a:gd name="T9" fmla="*/ 127 h 253"/>
                <a:gd name="T10" fmla="*/ 55 w 243"/>
                <a:gd name="T11" fmla="*/ 127 h 253"/>
                <a:gd name="T12" fmla="*/ 122 w 243"/>
                <a:gd name="T13" fmla="*/ 189 h 253"/>
                <a:gd name="T14" fmla="*/ 188 w 243"/>
                <a:gd name="T15" fmla="*/ 126 h 253"/>
                <a:gd name="T16" fmla="*/ 122 w 243"/>
                <a:gd name="T17" fmla="*/ 64 h 253"/>
                <a:gd name="T18" fmla="*/ 55 w 243"/>
                <a:gd name="T19" fmla="*/ 12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253">
                  <a:moveTo>
                    <a:pt x="243" y="127"/>
                  </a:moveTo>
                  <a:cubicBezTo>
                    <a:pt x="243" y="198"/>
                    <a:pt x="190" y="253"/>
                    <a:pt x="122" y="253"/>
                  </a:cubicBezTo>
                  <a:cubicBezTo>
                    <a:pt x="53" y="253"/>
                    <a:pt x="0" y="197"/>
                    <a:pt x="0" y="126"/>
                  </a:cubicBezTo>
                  <a:cubicBezTo>
                    <a:pt x="0" y="56"/>
                    <a:pt x="53" y="0"/>
                    <a:pt x="122" y="0"/>
                  </a:cubicBezTo>
                  <a:cubicBezTo>
                    <a:pt x="190" y="0"/>
                    <a:pt x="243" y="56"/>
                    <a:pt x="243" y="127"/>
                  </a:cubicBezTo>
                  <a:moveTo>
                    <a:pt x="55" y="127"/>
                  </a:moveTo>
                  <a:cubicBezTo>
                    <a:pt x="55" y="163"/>
                    <a:pt x="83" y="189"/>
                    <a:pt x="122" y="189"/>
                  </a:cubicBezTo>
                  <a:cubicBezTo>
                    <a:pt x="159" y="189"/>
                    <a:pt x="188" y="162"/>
                    <a:pt x="188" y="126"/>
                  </a:cubicBezTo>
                  <a:cubicBezTo>
                    <a:pt x="188" y="90"/>
                    <a:pt x="160" y="64"/>
                    <a:pt x="122" y="64"/>
                  </a:cubicBezTo>
                  <a:cubicBezTo>
                    <a:pt x="85" y="64"/>
                    <a:pt x="55" y="92"/>
                    <a:pt x="55" y="12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7" name="Google Shape;108;p23">
            <a:extLst>
              <a:ext uri="{FF2B5EF4-FFF2-40B4-BE49-F238E27FC236}">
                <a16:creationId xmlns:a16="http://schemas.microsoft.com/office/drawing/2014/main" id="{2A125763-B6E0-4FF8-9624-B7552B4C3F0D}"/>
              </a:ext>
            </a:extLst>
          </p:cNvPr>
          <p:cNvSpPr/>
          <p:nvPr userDrawn="1"/>
        </p:nvSpPr>
        <p:spPr>
          <a:xfrm>
            <a:off x="-1" y="3"/>
            <a:ext cx="1022385" cy="69439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B37546-82AC-4C1B-8D21-7FE7BFE25D1B}"/>
              </a:ext>
            </a:extLst>
          </p:cNvPr>
          <p:cNvSpPr/>
          <p:nvPr userDrawn="1"/>
        </p:nvSpPr>
        <p:spPr>
          <a:xfrm>
            <a:off x="0" y="46815954"/>
            <a:ext cx="3428866" cy="3570856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5434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783" y="12388216"/>
            <a:ext cx="9962830" cy="21273864"/>
          </a:xfrm>
          <a:prstGeom prst="rect">
            <a:avLst/>
          </a:prstGeom>
        </p:spPr>
        <p:txBody>
          <a:bodyPr wrap="square" lIns="0" tIns="0" rIns="121899" bIns="0" anchor="b" anchorCtr="0"/>
          <a:lstStyle>
            <a:lvl1pPr marL="0" algn="l" defTabSz="1218987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US" sz="80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783" y="34651736"/>
            <a:ext cx="9952388" cy="335999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9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| Date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4B5B53C-9814-4319-B2AA-2C21FFC03C69}"/>
              </a:ext>
            </a:extLst>
          </p:cNvPr>
          <p:cNvGrpSpPr>
            <a:grpSpLocks noChangeAspect="1"/>
          </p:cNvGrpSpPr>
          <p:nvPr userDrawn="1"/>
        </p:nvGrpSpPr>
        <p:grpSpPr>
          <a:xfrm rot="16200000">
            <a:off x="-1249978" y="18585557"/>
            <a:ext cx="25716182" cy="1167779"/>
            <a:chOff x="547688" y="952500"/>
            <a:chExt cx="12190413" cy="4067175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86DAFFA-DD2C-4B45-869C-80A8537FFB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gradFill flip="none" rotWithShape="1">
              <a:gsLst>
                <a:gs pos="0">
                  <a:srgbClr val="F2A11F"/>
                </a:gs>
                <a:gs pos="37000">
                  <a:srgbClr val="EC5124"/>
                </a:gs>
                <a:gs pos="79000">
                  <a:srgbClr val="D32A27"/>
                </a:gs>
                <a:gs pos="100000">
                  <a:srgbClr val="7A425E"/>
                </a:gs>
              </a:gsLst>
              <a:lin ang="2400000" scaled="0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26F6C622-0F1C-400B-80F7-27499D487B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id="{3843D85E-D61D-49D2-8C0B-2814AA2761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id="{3230BEAE-88C1-454A-9CCC-1D4B1775E5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051B78A0-6BF0-417B-86F2-F30C15214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id="{DC72F71B-EE86-4EF7-B865-447B4ED71B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A3EC0C04-B0DD-4A32-813E-011A695342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</p:grpSp>
      <p:sp>
        <p:nvSpPr>
          <p:cNvPr id="63" name="Freeform 5">
            <a:extLst>
              <a:ext uri="{FF2B5EF4-FFF2-40B4-BE49-F238E27FC236}">
                <a16:creationId xmlns:a16="http://schemas.microsoft.com/office/drawing/2014/main" id="{433BBA68-D2F6-45DA-B6D3-4CBDACC1E27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48787" y="6311345"/>
            <a:ext cx="3942091" cy="2296364"/>
          </a:xfrm>
          <a:custGeom>
            <a:avLst/>
            <a:gdLst>
              <a:gd name="T0" fmla="*/ 557 w 2065"/>
              <a:gd name="T1" fmla="*/ 102 h 161"/>
              <a:gd name="T2" fmla="*/ 510 w 2065"/>
              <a:gd name="T3" fmla="*/ 76 h 161"/>
              <a:gd name="T4" fmla="*/ 583 w 2065"/>
              <a:gd name="T5" fmla="*/ 36 h 161"/>
              <a:gd name="T6" fmla="*/ 641 w 2065"/>
              <a:gd name="T7" fmla="*/ 34 h 161"/>
              <a:gd name="T8" fmla="*/ 2038 w 2065"/>
              <a:gd name="T9" fmla="*/ 1 h 161"/>
              <a:gd name="T10" fmla="*/ 706 w 2065"/>
              <a:gd name="T11" fmla="*/ 59 h 161"/>
              <a:gd name="T12" fmla="*/ 733 w 2065"/>
              <a:gd name="T13" fmla="*/ 100 h 161"/>
              <a:gd name="T14" fmla="*/ 1999 w 2065"/>
              <a:gd name="T15" fmla="*/ 132 h 161"/>
              <a:gd name="T16" fmla="*/ 760 w 2065"/>
              <a:gd name="T17" fmla="*/ 84 h 161"/>
              <a:gd name="T18" fmla="*/ 787 w 2065"/>
              <a:gd name="T19" fmla="*/ 93 h 161"/>
              <a:gd name="T20" fmla="*/ 828 w 2065"/>
              <a:gd name="T21" fmla="*/ 76 h 161"/>
              <a:gd name="T22" fmla="*/ 133 w 2065"/>
              <a:gd name="T23" fmla="*/ 36 h 161"/>
              <a:gd name="T24" fmla="*/ 166 w 2065"/>
              <a:gd name="T25" fmla="*/ 78 h 161"/>
              <a:gd name="T26" fmla="*/ 225 w 2065"/>
              <a:gd name="T27" fmla="*/ 132 h 161"/>
              <a:gd name="T28" fmla="*/ 32 w 2065"/>
              <a:gd name="T29" fmla="*/ 40 h 161"/>
              <a:gd name="T30" fmla="*/ 5 w 2065"/>
              <a:gd name="T31" fmla="*/ 43 h 161"/>
              <a:gd name="T32" fmla="*/ 0 w 2065"/>
              <a:gd name="T33" fmla="*/ 114 h 161"/>
              <a:gd name="T34" fmla="*/ 266 w 2065"/>
              <a:gd name="T35" fmla="*/ 43 h 161"/>
              <a:gd name="T36" fmla="*/ 258 w 2065"/>
              <a:gd name="T37" fmla="*/ 104 h 161"/>
              <a:gd name="T38" fmla="*/ 347 w 2065"/>
              <a:gd name="T39" fmla="*/ 76 h 161"/>
              <a:gd name="T40" fmla="*/ 285 w 2065"/>
              <a:gd name="T41" fmla="*/ 103 h 161"/>
              <a:gd name="T42" fmla="*/ 429 w 2065"/>
              <a:gd name="T43" fmla="*/ 36 h 161"/>
              <a:gd name="T44" fmla="*/ 479 w 2065"/>
              <a:gd name="T45" fmla="*/ 128 h 161"/>
              <a:gd name="T46" fmla="*/ 479 w 2065"/>
              <a:gd name="T47" fmla="*/ 36 h 161"/>
              <a:gd name="T48" fmla="*/ 354 w 2065"/>
              <a:gd name="T49" fmla="*/ 132 h 161"/>
              <a:gd name="T50" fmla="*/ 382 w 2065"/>
              <a:gd name="T51" fmla="*/ 55 h 161"/>
              <a:gd name="T52" fmla="*/ 1387 w 2065"/>
              <a:gd name="T53" fmla="*/ 84 h 161"/>
              <a:gd name="T54" fmla="*/ 1335 w 2065"/>
              <a:gd name="T55" fmla="*/ 58 h 161"/>
              <a:gd name="T56" fmla="*/ 1834 w 2065"/>
              <a:gd name="T57" fmla="*/ 132 h 161"/>
              <a:gd name="T58" fmla="*/ 1748 w 2065"/>
              <a:gd name="T59" fmla="*/ 34 h 161"/>
              <a:gd name="T60" fmla="*/ 1748 w 2065"/>
              <a:gd name="T61" fmla="*/ 34 h 161"/>
              <a:gd name="T62" fmla="*/ 1773 w 2065"/>
              <a:gd name="T63" fmla="*/ 84 h 161"/>
              <a:gd name="T64" fmla="*/ 1465 w 2065"/>
              <a:gd name="T65" fmla="*/ 109 h 161"/>
              <a:gd name="T66" fmla="*/ 1480 w 2065"/>
              <a:gd name="T67" fmla="*/ 148 h 161"/>
              <a:gd name="T68" fmla="*/ 1442 w 2065"/>
              <a:gd name="T69" fmla="*/ 102 h 161"/>
              <a:gd name="T70" fmla="*/ 1675 w 2065"/>
              <a:gd name="T71" fmla="*/ 37 h 161"/>
              <a:gd name="T72" fmla="*/ 1655 w 2065"/>
              <a:gd name="T73" fmla="*/ 7 h 161"/>
              <a:gd name="T74" fmla="*/ 1648 w 2065"/>
              <a:gd name="T75" fmla="*/ 132 h 161"/>
              <a:gd name="T76" fmla="*/ 1526 w 2065"/>
              <a:gd name="T77" fmla="*/ 36 h 161"/>
              <a:gd name="T78" fmla="*/ 1528 w 2065"/>
              <a:gd name="T79" fmla="*/ 161 h 161"/>
              <a:gd name="T80" fmla="*/ 980 w 2065"/>
              <a:gd name="T81" fmla="*/ 49 h 161"/>
              <a:gd name="T82" fmla="*/ 997 w 2065"/>
              <a:gd name="T83" fmla="*/ 59 h 161"/>
              <a:gd name="T84" fmla="*/ 1250 w 2065"/>
              <a:gd name="T85" fmla="*/ 132 h 161"/>
              <a:gd name="T86" fmla="*/ 1075 w 2065"/>
              <a:gd name="T87" fmla="*/ 49 h 161"/>
              <a:gd name="T88" fmla="*/ 1092 w 2065"/>
              <a:gd name="T89" fmla="*/ 59 h 161"/>
              <a:gd name="T90" fmla="*/ 910 w 2065"/>
              <a:gd name="T91" fmla="*/ 111 h 161"/>
              <a:gd name="T92" fmla="*/ 909 w 2065"/>
              <a:gd name="T93" fmla="*/ 34 h 161"/>
              <a:gd name="T94" fmla="*/ 910 w 2065"/>
              <a:gd name="T95" fmla="*/ 111 h 161"/>
              <a:gd name="T96" fmla="*/ 1962 w 2065"/>
              <a:gd name="T97" fmla="*/ 77 h 161"/>
              <a:gd name="T98" fmla="*/ 1962 w 2065"/>
              <a:gd name="T99" fmla="*/ 132 h 161"/>
              <a:gd name="T100" fmla="*/ 1941 w 2065"/>
              <a:gd name="T101" fmla="*/ 115 h 161"/>
              <a:gd name="T102" fmla="*/ 1193 w 2065"/>
              <a:gd name="T103" fmla="*/ 34 h 161"/>
              <a:gd name="T104" fmla="*/ 1193 w 2065"/>
              <a:gd name="T105" fmla="*/ 34 h 161"/>
              <a:gd name="T106" fmla="*/ 1218 w 2065"/>
              <a:gd name="T107" fmla="*/ 84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5" h="161">
                <a:moveTo>
                  <a:pt x="530" y="34"/>
                </a:moveTo>
                <a:cubicBezTo>
                  <a:pt x="502" y="34"/>
                  <a:pt x="483" y="57"/>
                  <a:pt x="483" y="84"/>
                </a:cubicBezTo>
                <a:cubicBezTo>
                  <a:pt x="483" y="84"/>
                  <a:pt x="483" y="84"/>
                  <a:pt x="483" y="84"/>
                </a:cubicBezTo>
                <a:cubicBezTo>
                  <a:pt x="483" y="114"/>
                  <a:pt x="504" y="134"/>
                  <a:pt x="533" y="134"/>
                </a:cubicBezTo>
                <a:cubicBezTo>
                  <a:pt x="551" y="134"/>
                  <a:pt x="563" y="127"/>
                  <a:pt x="572" y="116"/>
                </a:cubicBezTo>
                <a:cubicBezTo>
                  <a:pt x="557" y="102"/>
                  <a:pt x="557" y="102"/>
                  <a:pt x="557" y="102"/>
                </a:cubicBezTo>
                <a:cubicBezTo>
                  <a:pt x="549" y="109"/>
                  <a:pt x="543" y="112"/>
                  <a:pt x="533" y="112"/>
                </a:cubicBezTo>
                <a:cubicBezTo>
                  <a:pt x="521" y="112"/>
                  <a:pt x="513" y="106"/>
                  <a:pt x="510" y="93"/>
                </a:cubicBezTo>
                <a:cubicBezTo>
                  <a:pt x="577" y="93"/>
                  <a:pt x="577" y="93"/>
                  <a:pt x="577" y="93"/>
                </a:cubicBezTo>
                <a:cubicBezTo>
                  <a:pt x="577" y="91"/>
                  <a:pt x="577" y="88"/>
                  <a:pt x="577" y="86"/>
                </a:cubicBezTo>
                <a:cubicBezTo>
                  <a:pt x="577" y="59"/>
                  <a:pt x="563" y="34"/>
                  <a:pt x="530" y="34"/>
                </a:cubicBezTo>
                <a:close/>
                <a:moveTo>
                  <a:pt x="510" y="76"/>
                </a:moveTo>
                <a:cubicBezTo>
                  <a:pt x="512" y="64"/>
                  <a:pt x="519" y="56"/>
                  <a:pt x="530" y="56"/>
                </a:cubicBezTo>
                <a:cubicBezTo>
                  <a:pt x="542" y="56"/>
                  <a:pt x="549" y="64"/>
                  <a:pt x="551" y="76"/>
                </a:cubicBezTo>
                <a:lnTo>
                  <a:pt x="510" y="76"/>
                </a:lnTo>
                <a:close/>
                <a:moveTo>
                  <a:pt x="610" y="55"/>
                </a:moveTo>
                <a:cubicBezTo>
                  <a:pt x="610" y="36"/>
                  <a:pt x="610" y="36"/>
                  <a:pt x="610" y="36"/>
                </a:cubicBezTo>
                <a:cubicBezTo>
                  <a:pt x="583" y="36"/>
                  <a:pt x="583" y="36"/>
                  <a:pt x="583" y="36"/>
                </a:cubicBezTo>
                <a:cubicBezTo>
                  <a:pt x="583" y="132"/>
                  <a:pt x="583" y="132"/>
                  <a:pt x="583" y="132"/>
                </a:cubicBezTo>
                <a:cubicBezTo>
                  <a:pt x="610" y="132"/>
                  <a:pt x="610" y="132"/>
                  <a:pt x="610" y="132"/>
                </a:cubicBezTo>
                <a:cubicBezTo>
                  <a:pt x="610" y="97"/>
                  <a:pt x="610" y="97"/>
                  <a:pt x="610" y="97"/>
                </a:cubicBezTo>
                <a:cubicBezTo>
                  <a:pt x="610" y="74"/>
                  <a:pt x="621" y="63"/>
                  <a:pt x="640" y="63"/>
                </a:cubicBezTo>
                <a:cubicBezTo>
                  <a:pt x="641" y="63"/>
                  <a:pt x="641" y="63"/>
                  <a:pt x="641" y="63"/>
                </a:cubicBezTo>
                <a:cubicBezTo>
                  <a:pt x="641" y="34"/>
                  <a:pt x="641" y="34"/>
                  <a:pt x="641" y="34"/>
                </a:cubicBezTo>
                <a:cubicBezTo>
                  <a:pt x="625" y="33"/>
                  <a:pt x="616" y="42"/>
                  <a:pt x="610" y="55"/>
                </a:cubicBezTo>
                <a:close/>
                <a:moveTo>
                  <a:pt x="2038" y="1"/>
                </a:moveTo>
                <a:cubicBezTo>
                  <a:pt x="2038" y="132"/>
                  <a:pt x="2038" y="132"/>
                  <a:pt x="2038" y="132"/>
                </a:cubicBezTo>
                <a:cubicBezTo>
                  <a:pt x="2065" y="132"/>
                  <a:pt x="2065" y="132"/>
                  <a:pt x="2065" y="132"/>
                </a:cubicBezTo>
                <a:cubicBezTo>
                  <a:pt x="2065" y="1"/>
                  <a:pt x="2065" y="1"/>
                  <a:pt x="2065" y="1"/>
                </a:cubicBezTo>
                <a:lnTo>
                  <a:pt x="2038" y="1"/>
                </a:lnTo>
                <a:close/>
                <a:moveTo>
                  <a:pt x="733" y="11"/>
                </a:moveTo>
                <a:cubicBezTo>
                  <a:pt x="706" y="11"/>
                  <a:pt x="706" y="11"/>
                  <a:pt x="706" y="11"/>
                </a:cubicBezTo>
                <a:cubicBezTo>
                  <a:pt x="706" y="36"/>
                  <a:pt x="706" y="36"/>
                  <a:pt x="706" y="36"/>
                </a:cubicBezTo>
                <a:cubicBezTo>
                  <a:pt x="694" y="36"/>
                  <a:pt x="694" y="36"/>
                  <a:pt x="694" y="36"/>
                </a:cubicBezTo>
                <a:cubicBezTo>
                  <a:pt x="694" y="59"/>
                  <a:pt x="694" y="59"/>
                  <a:pt x="694" y="59"/>
                </a:cubicBezTo>
                <a:cubicBezTo>
                  <a:pt x="706" y="59"/>
                  <a:pt x="706" y="59"/>
                  <a:pt x="706" y="59"/>
                </a:cubicBezTo>
                <a:cubicBezTo>
                  <a:pt x="706" y="105"/>
                  <a:pt x="706" y="105"/>
                  <a:pt x="706" y="105"/>
                </a:cubicBezTo>
                <a:cubicBezTo>
                  <a:pt x="706" y="127"/>
                  <a:pt x="717" y="134"/>
                  <a:pt x="734" y="134"/>
                </a:cubicBezTo>
                <a:cubicBezTo>
                  <a:pt x="743" y="134"/>
                  <a:pt x="750" y="132"/>
                  <a:pt x="755" y="128"/>
                </a:cubicBezTo>
                <a:cubicBezTo>
                  <a:pt x="755" y="106"/>
                  <a:pt x="755" y="106"/>
                  <a:pt x="755" y="106"/>
                </a:cubicBezTo>
                <a:cubicBezTo>
                  <a:pt x="752" y="108"/>
                  <a:pt x="747" y="110"/>
                  <a:pt x="742" y="110"/>
                </a:cubicBezTo>
                <a:cubicBezTo>
                  <a:pt x="736" y="110"/>
                  <a:pt x="733" y="107"/>
                  <a:pt x="733" y="100"/>
                </a:cubicBezTo>
                <a:cubicBezTo>
                  <a:pt x="733" y="59"/>
                  <a:pt x="733" y="59"/>
                  <a:pt x="733" y="59"/>
                </a:cubicBezTo>
                <a:cubicBezTo>
                  <a:pt x="756" y="59"/>
                  <a:pt x="756" y="59"/>
                  <a:pt x="756" y="59"/>
                </a:cubicBezTo>
                <a:cubicBezTo>
                  <a:pt x="756" y="36"/>
                  <a:pt x="756" y="36"/>
                  <a:pt x="756" y="36"/>
                </a:cubicBezTo>
                <a:cubicBezTo>
                  <a:pt x="733" y="36"/>
                  <a:pt x="733" y="36"/>
                  <a:pt x="733" y="36"/>
                </a:cubicBezTo>
                <a:lnTo>
                  <a:pt x="733" y="11"/>
                </a:lnTo>
                <a:close/>
                <a:moveTo>
                  <a:pt x="1999" y="132"/>
                </a:moveTo>
                <a:cubicBezTo>
                  <a:pt x="2027" y="132"/>
                  <a:pt x="2027" y="132"/>
                  <a:pt x="2027" y="132"/>
                </a:cubicBezTo>
                <a:cubicBezTo>
                  <a:pt x="2027" y="1"/>
                  <a:pt x="2027" y="1"/>
                  <a:pt x="2027" y="1"/>
                </a:cubicBezTo>
                <a:cubicBezTo>
                  <a:pt x="1999" y="1"/>
                  <a:pt x="1999" y="1"/>
                  <a:pt x="1999" y="1"/>
                </a:cubicBezTo>
                <a:lnTo>
                  <a:pt x="1999" y="132"/>
                </a:lnTo>
                <a:close/>
                <a:moveTo>
                  <a:pt x="807" y="34"/>
                </a:moveTo>
                <a:cubicBezTo>
                  <a:pt x="779" y="34"/>
                  <a:pt x="760" y="57"/>
                  <a:pt x="760" y="84"/>
                </a:cubicBezTo>
                <a:cubicBezTo>
                  <a:pt x="760" y="84"/>
                  <a:pt x="760" y="84"/>
                  <a:pt x="760" y="84"/>
                </a:cubicBezTo>
                <a:cubicBezTo>
                  <a:pt x="760" y="114"/>
                  <a:pt x="781" y="134"/>
                  <a:pt x="810" y="134"/>
                </a:cubicBezTo>
                <a:cubicBezTo>
                  <a:pt x="827" y="134"/>
                  <a:pt x="840" y="127"/>
                  <a:pt x="849" y="116"/>
                </a:cubicBezTo>
                <a:cubicBezTo>
                  <a:pt x="834" y="102"/>
                  <a:pt x="834" y="102"/>
                  <a:pt x="834" y="102"/>
                </a:cubicBezTo>
                <a:cubicBezTo>
                  <a:pt x="826" y="109"/>
                  <a:pt x="820" y="112"/>
                  <a:pt x="810" y="112"/>
                </a:cubicBezTo>
                <a:cubicBezTo>
                  <a:pt x="798" y="112"/>
                  <a:pt x="790" y="106"/>
                  <a:pt x="787" y="93"/>
                </a:cubicBezTo>
                <a:cubicBezTo>
                  <a:pt x="854" y="93"/>
                  <a:pt x="854" y="93"/>
                  <a:pt x="854" y="93"/>
                </a:cubicBezTo>
                <a:cubicBezTo>
                  <a:pt x="854" y="91"/>
                  <a:pt x="854" y="88"/>
                  <a:pt x="854" y="86"/>
                </a:cubicBezTo>
                <a:cubicBezTo>
                  <a:pt x="854" y="59"/>
                  <a:pt x="839" y="34"/>
                  <a:pt x="807" y="34"/>
                </a:cubicBezTo>
                <a:close/>
                <a:moveTo>
                  <a:pt x="787" y="76"/>
                </a:moveTo>
                <a:cubicBezTo>
                  <a:pt x="789" y="64"/>
                  <a:pt x="796" y="56"/>
                  <a:pt x="807" y="56"/>
                </a:cubicBezTo>
                <a:cubicBezTo>
                  <a:pt x="819" y="56"/>
                  <a:pt x="826" y="64"/>
                  <a:pt x="828" y="76"/>
                </a:cubicBezTo>
                <a:lnTo>
                  <a:pt x="787" y="76"/>
                </a:lnTo>
                <a:close/>
                <a:moveTo>
                  <a:pt x="220" y="34"/>
                </a:moveTo>
                <a:cubicBezTo>
                  <a:pt x="207" y="34"/>
                  <a:pt x="197" y="39"/>
                  <a:pt x="189" y="49"/>
                </a:cubicBezTo>
                <a:cubicBezTo>
                  <a:pt x="184" y="40"/>
                  <a:pt x="174" y="34"/>
                  <a:pt x="161" y="34"/>
                </a:cubicBezTo>
                <a:cubicBezTo>
                  <a:pt x="148" y="34"/>
                  <a:pt x="139" y="41"/>
                  <a:pt x="133" y="50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06" y="36"/>
                  <a:pt x="106" y="36"/>
                  <a:pt x="106" y="36"/>
                </a:cubicBezTo>
                <a:cubicBezTo>
                  <a:pt x="106" y="132"/>
                  <a:pt x="106" y="132"/>
                  <a:pt x="106" y="132"/>
                </a:cubicBezTo>
                <a:cubicBezTo>
                  <a:pt x="133" y="132"/>
                  <a:pt x="133" y="132"/>
                  <a:pt x="133" y="132"/>
                </a:cubicBezTo>
                <a:cubicBezTo>
                  <a:pt x="133" y="78"/>
                  <a:pt x="133" y="78"/>
                  <a:pt x="133" y="78"/>
                </a:cubicBezTo>
                <a:cubicBezTo>
                  <a:pt x="133" y="65"/>
                  <a:pt x="139" y="59"/>
                  <a:pt x="150" y="59"/>
                </a:cubicBezTo>
                <a:cubicBezTo>
                  <a:pt x="160" y="59"/>
                  <a:pt x="166" y="65"/>
                  <a:pt x="166" y="78"/>
                </a:cubicBezTo>
                <a:cubicBezTo>
                  <a:pt x="166" y="132"/>
                  <a:pt x="166" y="132"/>
                  <a:pt x="166" y="132"/>
                </a:cubicBezTo>
                <a:cubicBezTo>
                  <a:pt x="193" y="132"/>
                  <a:pt x="193" y="132"/>
                  <a:pt x="193" y="132"/>
                </a:cubicBezTo>
                <a:cubicBezTo>
                  <a:pt x="193" y="78"/>
                  <a:pt x="193" y="78"/>
                  <a:pt x="193" y="78"/>
                </a:cubicBezTo>
                <a:cubicBezTo>
                  <a:pt x="193" y="65"/>
                  <a:pt x="199" y="59"/>
                  <a:pt x="209" y="59"/>
                </a:cubicBezTo>
                <a:cubicBezTo>
                  <a:pt x="220" y="59"/>
                  <a:pt x="225" y="65"/>
                  <a:pt x="225" y="78"/>
                </a:cubicBezTo>
                <a:cubicBezTo>
                  <a:pt x="225" y="132"/>
                  <a:pt x="225" y="132"/>
                  <a:pt x="225" y="132"/>
                </a:cubicBezTo>
                <a:cubicBezTo>
                  <a:pt x="253" y="132"/>
                  <a:pt x="253" y="132"/>
                  <a:pt x="253" y="132"/>
                </a:cubicBezTo>
                <a:cubicBezTo>
                  <a:pt x="253" y="69"/>
                  <a:pt x="253" y="69"/>
                  <a:pt x="253" y="69"/>
                </a:cubicBezTo>
                <a:cubicBezTo>
                  <a:pt x="253" y="46"/>
                  <a:pt x="240" y="34"/>
                  <a:pt x="220" y="34"/>
                </a:cubicBezTo>
                <a:close/>
                <a:moveTo>
                  <a:pt x="59" y="57"/>
                </a:moveTo>
                <a:cubicBezTo>
                  <a:pt x="38" y="51"/>
                  <a:pt x="32" y="49"/>
                  <a:pt x="32" y="40"/>
                </a:cubicBezTo>
                <a:cubicBezTo>
                  <a:pt x="32" y="40"/>
                  <a:pt x="32" y="40"/>
                  <a:pt x="32" y="40"/>
                </a:cubicBezTo>
                <a:cubicBezTo>
                  <a:pt x="32" y="34"/>
                  <a:pt x="38" y="29"/>
                  <a:pt x="48" y="29"/>
                </a:cubicBezTo>
                <a:cubicBezTo>
                  <a:pt x="59" y="29"/>
                  <a:pt x="70" y="34"/>
                  <a:pt x="81" y="41"/>
                </a:cubicBezTo>
                <a:cubicBezTo>
                  <a:pt x="95" y="21"/>
                  <a:pt x="95" y="21"/>
                  <a:pt x="95" y="21"/>
                </a:cubicBezTo>
                <a:cubicBezTo>
                  <a:pt x="83" y="10"/>
                  <a:pt x="67" y="5"/>
                  <a:pt x="49" y="5"/>
                </a:cubicBezTo>
                <a:cubicBezTo>
                  <a:pt x="23" y="5"/>
                  <a:pt x="5" y="20"/>
                  <a:pt x="5" y="43"/>
                </a:cubicBezTo>
                <a:cubicBezTo>
                  <a:pt x="5" y="43"/>
                  <a:pt x="5" y="43"/>
                  <a:pt x="5" y="43"/>
                </a:cubicBezTo>
                <a:cubicBezTo>
                  <a:pt x="5" y="68"/>
                  <a:pt x="21" y="75"/>
                  <a:pt x="46" y="81"/>
                </a:cubicBezTo>
                <a:cubicBezTo>
                  <a:pt x="67" y="87"/>
                  <a:pt x="72" y="90"/>
                  <a:pt x="72" y="97"/>
                </a:cubicBezTo>
                <a:cubicBezTo>
                  <a:pt x="72" y="98"/>
                  <a:pt x="72" y="98"/>
                  <a:pt x="72" y="98"/>
                </a:cubicBezTo>
                <a:cubicBezTo>
                  <a:pt x="72" y="105"/>
                  <a:pt x="65" y="109"/>
                  <a:pt x="54" y="109"/>
                </a:cubicBezTo>
                <a:cubicBezTo>
                  <a:pt x="39" y="109"/>
                  <a:pt x="27" y="104"/>
                  <a:pt x="16" y="94"/>
                </a:cubicBezTo>
                <a:cubicBezTo>
                  <a:pt x="0" y="114"/>
                  <a:pt x="0" y="114"/>
                  <a:pt x="0" y="114"/>
                </a:cubicBezTo>
                <a:cubicBezTo>
                  <a:pt x="15" y="127"/>
                  <a:pt x="34" y="134"/>
                  <a:pt x="53" y="134"/>
                </a:cubicBezTo>
                <a:cubicBezTo>
                  <a:pt x="80" y="134"/>
                  <a:pt x="99" y="120"/>
                  <a:pt x="99" y="95"/>
                </a:cubicBezTo>
                <a:cubicBezTo>
                  <a:pt x="99" y="95"/>
                  <a:pt x="99" y="95"/>
                  <a:pt x="99" y="95"/>
                </a:cubicBezTo>
                <a:cubicBezTo>
                  <a:pt x="99" y="73"/>
                  <a:pt x="85" y="63"/>
                  <a:pt x="59" y="57"/>
                </a:cubicBezTo>
                <a:close/>
                <a:moveTo>
                  <a:pt x="304" y="35"/>
                </a:moveTo>
                <a:cubicBezTo>
                  <a:pt x="287" y="35"/>
                  <a:pt x="277" y="38"/>
                  <a:pt x="266" y="43"/>
                </a:cubicBezTo>
                <a:cubicBezTo>
                  <a:pt x="273" y="63"/>
                  <a:pt x="273" y="63"/>
                  <a:pt x="273" y="63"/>
                </a:cubicBezTo>
                <a:cubicBezTo>
                  <a:pt x="282" y="60"/>
                  <a:pt x="289" y="58"/>
                  <a:pt x="300" y="58"/>
                </a:cubicBezTo>
                <a:cubicBezTo>
                  <a:pt x="313" y="58"/>
                  <a:pt x="320" y="64"/>
                  <a:pt x="320" y="76"/>
                </a:cubicBezTo>
                <a:cubicBezTo>
                  <a:pt x="320" y="77"/>
                  <a:pt x="320" y="77"/>
                  <a:pt x="320" y="77"/>
                </a:cubicBezTo>
                <a:cubicBezTo>
                  <a:pt x="314" y="75"/>
                  <a:pt x="307" y="73"/>
                  <a:pt x="297" y="73"/>
                </a:cubicBezTo>
                <a:cubicBezTo>
                  <a:pt x="274" y="73"/>
                  <a:pt x="258" y="83"/>
                  <a:pt x="258" y="104"/>
                </a:cubicBezTo>
                <a:cubicBezTo>
                  <a:pt x="258" y="104"/>
                  <a:pt x="258" y="104"/>
                  <a:pt x="258" y="104"/>
                </a:cubicBezTo>
                <a:cubicBezTo>
                  <a:pt x="258" y="123"/>
                  <a:pt x="273" y="134"/>
                  <a:pt x="291" y="134"/>
                </a:cubicBezTo>
                <a:cubicBezTo>
                  <a:pt x="304" y="134"/>
                  <a:pt x="314" y="129"/>
                  <a:pt x="320" y="122"/>
                </a:cubicBezTo>
                <a:cubicBezTo>
                  <a:pt x="320" y="132"/>
                  <a:pt x="320" y="132"/>
                  <a:pt x="320" y="132"/>
                </a:cubicBezTo>
                <a:cubicBezTo>
                  <a:pt x="347" y="132"/>
                  <a:pt x="347" y="132"/>
                  <a:pt x="347" y="132"/>
                </a:cubicBezTo>
                <a:cubicBezTo>
                  <a:pt x="347" y="76"/>
                  <a:pt x="347" y="76"/>
                  <a:pt x="347" y="76"/>
                </a:cubicBezTo>
                <a:cubicBezTo>
                  <a:pt x="347" y="63"/>
                  <a:pt x="343" y="53"/>
                  <a:pt x="336" y="46"/>
                </a:cubicBezTo>
                <a:cubicBezTo>
                  <a:pt x="329" y="39"/>
                  <a:pt x="319" y="35"/>
                  <a:pt x="304" y="35"/>
                </a:cubicBezTo>
                <a:close/>
                <a:moveTo>
                  <a:pt x="321" y="98"/>
                </a:moveTo>
                <a:cubicBezTo>
                  <a:pt x="321" y="108"/>
                  <a:pt x="312" y="115"/>
                  <a:pt x="299" y="115"/>
                </a:cubicBezTo>
                <a:cubicBezTo>
                  <a:pt x="291" y="115"/>
                  <a:pt x="285" y="111"/>
                  <a:pt x="285" y="103"/>
                </a:cubicBezTo>
                <a:cubicBezTo>
                  <a:pt x="285" y="103"/>
                  <a:pt x="285" y="103"/>
                  <a:pt x="285" y="103"/>
                </a:cubicBezTo>
                <a:cubicBezTo>
                  <a:pt x="285" y="94"/>
                  <a:pt x="292" y="90"/>
                  <a:pt x="303" y="90"/>
                </a:cubicBezTo>
                <a:cubicBezTo>
                  <a:pt x="310" y="90"/>
                  <a:pt x="316" y="91"/>
                  <a:pt x="321" y="93"/>
                </a:cubicBezTo>
                <a:lnTo>
                  <a:pt x="321" y="98"/>
                </a:lnTo>
                <a:close/>
                <a:moveTo>
                  <a:pt x="457" y="11"/>
                </a:moveTo>
                <a:cubicBezTo>
                  <a:pt x="429" y="11"/>
                  <a:pt x="429" y="11"/>
                  <a:pt x="429" y="11"/>
                </a:cubicBezTo>
                <a:cubicBezTo>
                  <a:pt x="429" y="36"/>
                  <a:pt x="429" y="36"/>
                  <a:pt x="429" y="36"/>
                </a:cubicBezTo>
                <a:cubicBezTo>
                  <a:pt x="418" y="36"/>
                  <a:pt x="418" y="36"/>
                  <a:pt x="418" y="36"/>
                </a:cubicBezTo>
                <a:cubicBezTo>
                  <a:pt x="418" y="59"/>
                  <a:pt x="418" y="59"/>
                  <a:pt x="418" y="59"/>
                </a:cubicBezTo>
                <a:cubicBezTo>
                  <a:pt x="429" y="59"/>
                  <a:pt x="429" y="59"/>
                  <a:pt x="429" y="59"/>
                </a:cubicBezTo>
                <a:cubicBezTo>
                  <a:pt x="429" y="105"/>
                  <a:pt x="429" y="105"/>
                  <a:pt x="429" y="105"/>
                </a:cubicBezTo>
                <a:cubicBezTo>
                  <a:pt x="429" y="127"/>
                  <a:pt x="441" y="134"/>
                  <a:pt x="457" y="134"/>
                </a:cubicBezTo>
                <a:cubicBezTo>
                  <a:pt x="466" y="134"/>
                  <a:pt x="473" y="132"/>
                  <a:pt x="479" y="128"/>
                </a:cubicBezTo>
                <a:cubicBezTo>
                  <a:pt x="479" y="106"/>
                  <a:pt x="479" y="106"/>
                  <a:pt x="479" y="106"/>
                </a:cubicBezTo>
                <a:cubicBezTo>
                  <a:pt x="475" y="108"/>
                  <a:pt x="470" y="110"/>
                  <a:pt x="465" y="110"/>
                </a:cubicBezTo>
                <a:cubicBezTo>
                  <a:pt x="459" y="110"/>
                  <a:pt x="457" y="107"/>
                  <a:pt x="457" y="100"/>
                </a:cubicBezTo>
                <a:cubicBezTo>
                  <a:pt x="457" y="59"/>
                  <a:pt x="457" y="59"/>
                  <a:pt x="457" y="59"/>
                </a:cubicBezTo>
                <a:cubicBezTo>
                  <a:pt x="479" y="59"/>
                  <a:pt x="479" y="59"/>
                  <a:pt x="479" y="59"/>
                </a:cubicBezTo>
                <a:cubicBezTo>
                  <a:pt x="479" y="36"/>
                  <a:pt x="479" y="36"/>
                  <a:pt x="479" y="36"/>
                </a:cubicBezTo>
                <a:cubicBezTo>
                  <a:pt x="457" y="36"/>
                  <a:pt x="457" y="36"/>
                  <a:pt x="457" y="36"/>
                </a:cubicBezTo>
                <a:lnTo>
                  <a:pt x="457" y="11"/>
                </a:lnTo>
                <a:close/>
                <a:moveTo>
                  <a:pt x="382" y="55"/>
                </a:moveTo>
                <a:cubicBezTo>
                  <a:pt x="382" y="36"/>
                  <a:pt x="382" y="36"/>
                  <a:pt x="382" y="36"/>
                </a:cubicBezTo>
                <a:cubicBezTo>
                  <a:pt x="354" y="36"/>
                  <a:pt x="354" y="36"/>
                  <a:pt x="354" y="36"/>
                </a:cubicBezTo>
                <a:cubicBezTo>
                  <a:pt x="354" y="132"/>
                  <a:pt x="354" y="132"/>
                  <a:pt x="354" y="132"/>
                </a:cubicBezTo>
                <a:cubicBezTo>
                  <a:pt x="382" y="132"/>
                  <a:pt x="382" y="132"/>
                  <a:pt x="382" y="132"/>
                </a:cubicBezTo>
                <a:cubicBezTo>
                  <a:pt x="382" y="97"/>
                  <a:pt x="382" y="97"/>
                  <a:pt x="382" y="97"/>
                </a:cubicBezTo>
                <a:cubicBezTo>
                  <a:pt x="382" y="74"/>
                  <a:pt x="393" y="63"/>
                  <a:pt x="411" y="63"/>
                </a:cubicBezTo>
                <a:cubicBezTo>
                  <a:pt x="412" y="63"/>
                  <a:pt x="412" y="63"/>
                  <a:pt x="412" y="63"/>
                </a:cubicBezTo>
                <a:cubicBezTo>
                  <a:pt x="412" y="34"/>
                  <a:pt x="412" y="34"/>
                  <a:pt x="412" y="34"/>
                </a:cubicBezTo>
                <a:cubicBezTo>
                  <a:pt x="396" y="33"/>
                  <a:pt x="387" y="42"/>
                  <a:pt x="382" y="55"/>
                </a:cubicBezTo>
                <a:close/>
                <a:moveTo>
                  <a:pt x="1335" y="34"/>
                </a:moveTo>
                <a:cubicBezTo>
                  <a:pt x="1305" y="34"/>
                  <a:pt x="1283" y="56"/>
                  <a:pt x="1283" y="84"/>
                </a:cubicBezTo>
                <a:cubicBezTo>
                  <a:pt x="1283" y="84"/>
                  <a:pt x="1283" y="84"/>
                  <a:pt x="1283" y="84"/>
                </a:cubicBezTo>
                <a:cubicBezTo>
                  <a:pt x="1283" y="112"/>
                  <a:pt x="1305" y="134"/>
                  <a:pt x="1335" y="134"/>
                </a:cubicBezTo>
                <a:cubicBezTo>
                  <a:pt x="1365" y="134"/>
                  <a:pt x="1387" y="112"/>
                  <a:pt x="1387" y="84"/>
                </a:cubicBezTo>
                <a:cubicBezTo>
                  <a:pt x="1387" y="84"/>
                  <a:pt x="1387" y="84"/>
                  <a:pt x="1387" y="84"/>
                </a:cubicBezTo>
                <a:cubicBezTo>
                  <a:pt x="1387" y="56"/>
                  <a:pt x="1365" y="34"/>
                  <a:pt x="1335" y="34"/>
                </a:cubicBezTo>
                <a:close/>
                <a:moveTo>
                  <a:pt x="1360" y="84"/>
                </a:moveTo>
                <a:cubicBezTo>
                  <a:pt x="1360" y="99"/>
                  <a:pt x="1351" y="111"/>
                  <a:pt x="1335" y="111"/>
                </a:cubicBezTo>
                <a:cubicBezTo>
                  <a:pt x="1320" y="111"/>
                  <a:pt x="1310" y="98"/>
                  <a:pt x="1310" y="84"/>
                </a:cubicBezTo>
                <a:cubicBezTo>
                  <a:pt x="1310" y="84"/>
                  <a:pt x="1310" y="84"/>
                  <a:pt x="1310" y="84"/>
                </a:cubicBezTo>
                <a:cubicBezTo>
                  <a:pt x="1310" y="70"/>
                  <a:pt x="1319" y="58"/>
                  <a:pt x="1335" y="58"/>
                </a:cubicBezTo>
                <a:cubicBezTo>
                  <a:pt x="1350" y="58"/>
                  <a:pt x="1360" y="70"/>
                  <a:pt x="1360" y="84"/>
                </a:cubicBezTo>
                <a:close/>
                <a:moveTo>
                  <a:pt x="1834" y="55"/>
                </a:moveTo>
                <a:cubicBezTo>
                  <a:pt x="1834" y="36"/>
                  <a:pt x="1834" y="36"/>
                  <a:pt x="1834" y="36"/>
                </a:cubicBezTo>
                <a:cubicBezTo>
                  <a:pt x="1807" y="36"/>
                  <a:pt x="1807" y="36"/>
                  <a:pt x="1807" y="36"/>
                </a:cubicBezTo>
                <a:cubicBezTo>
                  <a:pt x="1807" y="132"/>
                  <a:pt x="1807" y="132"/>
                  <a:pt x="1807" y="132"/>
                </a:cubicBezTo>
                <a:cubicBezTo>
                  <a:pt x="1834" y="132"/>
                  <a:pt x="1834" y="132"/>
                  <a:pt x="1834" y="132"/>
                </a:cubicBezTo>
                <a:cubicBezTo>
                  <a:pt x="1834" y="97"/>
                  <a:pt x="1834" y="97"/>
                  <a:pt x="1834" y="97"/>
                </a:cubicBezTo>
                <a:cubicBezTo>
                  <a:pt x="1834" y="74"/>
                  <a:pt x="1845" y="63"/>
                  <a:pt x="1863" y="63"/>
                </a:cubicBezTo>
                <a:cubicBezTo>
                  <a:pt x="1865" y="63"/>
                  <a:pt x="1865" y="63"/>
                  <a:pt x="1865" y="63"/>
                </a:cubicBezTo>
                <a:cubicBezTo>
                  <a:pt x="1865" y="34"/>
                  <a:pt x="1865" y="34"/>
                  <a:pt x="1865" y="34"/>
                </a:cubicBezTo>
                <a:cubicBezTo>
                  <a:pt x="1848" y="33"/>
                  <a:pt x="1839" y="42"/>
                  <a:pt x="1834" y="55"/>
                </a:cubicBezTo>
                <a:close/>
                <a:moveTo>
                  <a:pt x="1748" y="34"/>
                </a:moveTo>
                <a:cubicBezTo>
                  <a:pt x="1718" y="34"/>
                  <a:pt x="1696" y="56"/>
                  <a:pt x="1696" y="84"/>
                </a:cubicBezTo>
                <a:cubicBezTo>
                  <a:pt x="1696" y="84"/>
                  <a:pt x="1696" y="84"/>
                  <a:pt x="1696" y="84"/>
                </a:cubicBezTo>
                <a:cubicBezTo>
                  <a:pt x="1696" y="112"/>
                  <a:pt x="1718" y="134"/>
                  <a:pt x="1748" y="134"/>
                </a:cubicBezTo>
                <a:cubicBezTo>
                  <a:pt x="1778" y="134"/>
                  <a:pt x="1800" y="112"/>
                  <a:pt x="1800" y="84"/>
                </a:cubicBezTo>
                <a:cubicBezTo>
                  <a:pt x="1800" y="84"/>
                  <a:pt x="1800" y="84"/>
                  <a:pt x="1800" y="84"/>
                </a:cubicBezTo>
                <a:cubicBezTo>
                  <a:pt x="1800" y="56"/>
                  <a:pt x="1778" y="34"/>
                  <a:pt x="1748" y="34"/>
                </a:cubicBezTo>
                <a:close/>
                <a:moveTo>
                  <a:pt x="1773" y="84"/>
                </a:moveTo>
                <a:cubicBezTo>
                  <a:pt x="1773" y="99"/>
                  <a:pt x="1764" y="111"/>
                  <a:pt x="1748" y="111"/>
                </a:cubicBezTo>
                <a:cubicBezTo>
                  <a:pt x="1733" y="111"/>
                  <a:pt x="1723" y="98"/>
                  <a:pt x="1723" y="84"/>
                </a:cubicBezTo>
                <a:cubicBezTo>
                  <a:pt x="1723" y="84"/>
                  <a:pt x="1723" y="84"/>
                  <a:pt x="1723" y="84"/>
                </a:cubicBezTo>
                <a:cubicBezTo>
                  <a:pt x="1723" y="70"/>
                  <a:pt x="1732" y="58"/>
                  <a:pt x="1748" y="58"/>
                </a:cubicBezTo>
                <a:cubicBezTo>
                  <a:pt x="1763" y="58"/>
                  <a:pt x="1773" y="70"/>
                  <a:pt x="1773" y="84"/>
                </a:cubicBezTo>
                <a:close/>
                <a:moveTo>
                  <a:pt x="1465" y="48"/>
                </a:moveTo>
                <a:cubicBezTo>
                  <a:pt x="1458" y="40"/>
                  <a:pt x="1449" y="34"/>
                  <a:pt x="1434" y="34"/>
                </a:cubicBezTo>
                <a:cubicBezTo>
                  <a:pt x="1412" y="34"/>
                  <a:pt x="1391" y="50"/>
                  <a:pt x="1391" y="79"/>
                </a:cubicBezTo>
                <a:cubicBezTo>
                  <a:pt x="1391" y="79"/>
                  <a:pt x="1391" y="79"/>
                  <a:pt x="1391" y="79"/>
                </a:cubicBezTo>
                <a:cubicBezTo>
                  <a:pt x="1391" y="108"/>
                  <a:pt x="1412" y="124"/>
                  <a:pt x="1434" y="124"/>
                </a:cubicBezTo>
                <a:cubicBezTo>
                  <a:pt x="1448" y="124"/>
                  <a:pt x="1457" y="118"/>
                  <a:pt x="1465" y="109"/>
                </a:cubicBezTo>
                <a:cubicBezTo>
                  <a:pt x="1465" y="113"/>
                  <a:pt x="1465" y="113"/>
                  <a:pt x="1465" y="113"/>
                </a:cubicBezTo>
                <a:cubicBezTo>
                  <a:pt x="1465" y="130"/>
                  <a:pt x="1457" y="139"/>
                  <a:pt x="1438" y="139"/>
                </a:cubicBezTo>
                <a:cubicBezTo>
                  <a:pt x="1425" y="139"/>
                  <a:pt x="1415" y="136"/>
                  <a:pt x="1405" y="131"/>
                </a:cubicBezTo>
                <a:cubicBezTo>
                  <a:pt x="1396" y="151"/>
                  <a:pt x="1396" y="151"/>
                  <a:pt x="1396" y="151"/>
                </a:cubicBezTo>
                <a:cubicBezTo>
                  <a:pt x="1408" y="158"/>
                  <a:pt x="1423" y="161"/>
                  <a:pt x="1439" y="161"/>
                </a:cubicBezTo>
                <a:cubicBezTo>
                  <a:pt x="1457" y="161"/>
                  <a:pt x="1471" y="157"/>
                  <a:pt x="1480" y="148"/>
                </a:cubicBezTo>
                <a:cubicBezTo>
                  <a:pt x="1488" y="140"/>
                  <a:pt x="1492" y="128"/>
                  <a:pt x="1492" y="110"/>
                </a:cubicBezTo>
                <a:cubicBezTo>
                  <a:pt x="1492" y="36"/>
                  <a:pt x="1492" y="36"/>
                  <a:pt x="1492" y="36"/>
                </a:cubicBezTo>
                <a:cubicBezTo>
                  <a:pt x="1465" y="36"/>
                  <a:pt x="1465" y="36"/>
                  <a:pt x="1465" y="36"/>
                </a:cubicBezTo>
                <a:lnTo>
                  <a:pt x="1465" y="48"/>
                </a:lnTo>
                <a:close/>
                <a:moveTo>
                  <a:pt x="1465" y="79"/>
                </a:moveTo>
                <a:cubicBezTo>
                  <a:pt x="1465" y="92"/>
                  <a:pt x="1455" y="102"/>
                  <a:pt x="1442" y="102"/>
                </a:cubicBezTo>
                <a:cubicBezTo>
                  <a:pt x="1429" y="102"/>
                  <a:pt x="1419" y="93"/>
                  <a:pt x="1419" y="79"/>
                </a:cubicBezTo>
                <a:cubicBezTo>
                  <a:pt x="1419" y="79"/>
                  <a:pt x="1419" y="79"/>
                  <a:pt x="1419" y="79"/>
                </a:cubicBezTo>
                <a:cubicBezTo>
                  <a:pt x="1419" y="66"/>
                  <a:pt x="1429" y="57"/>
                  <a:pt x="1442" y="57"/>
                </a:cubicBezTo>
                <a:cubicBezTo>
                  <a:pt x="1455" y="57"/>
                  <a:pt x="1465" y="66"/>
                  <a:pt x="1465" y="79"/>
                </a:cubicBezTo>
                <a:close/>
                <a:moveTo>
                  <a:pt x="1697" y="37"/>
                </a:moveTo>
                <a:cubicBezTo>
                  <a:pt x="1675" y="37"/>
                  <a:pt x="1675" y="37"/>
                  <a:pt x="1675" y="37"/>
                </a:cubicBezTo>
                <a:cubicBezTo>
                  <a:pt x="1675" y="33"/>
                  <a:pt x="1675" y="33"/>
                  <a:pt x="1675" y="33"/>
                </a:cubicBezTo>
                <a:cubicBezTo>
                  <a:pt x="1675" y="26"/>
                  <a:pt x="1678" y="23"/>
                  <a:pt x="1684" y="23"/>
                </a:cubicBezTo>
                <a:cubicBezTo>
                  <a:pt x="1689" y="23"/>
                  <a:pt x="1693" y="24"/>
                  <a:pt x="1697" y="25"/>
                </a:cubicBezTo>
                <a:cubicBezTo>
                  <a:pt x="1697" y="2"/>
                  <a:pt x="1697" y="2"/>
                  <a:pt x="1697" y="2"/>
                </a:cubicBezTo>
                <a:cubicBezTo>
                  <a:pt x="1692" y="1"/>
                  <a:pt x="1686" y="0"/>
                  <a:pt x="1677" y="0"/>
                </a:cubicBezTo>
                <a:cubicBezTo>
                  <a:pt x="1668" y="0"/>
                  <a:pt x="1660" y="2"/>
                  <a:pt x="1655" y="7"/>
                </a:cubicBezTo>
                <a:cubicBezTo>
                  <a:pt x="1650" y="12"/>
                  <a:pt x="1648" y="20"/>
                  <a:pt x="1648" y="31"/>
                </a:cubicBezTo>
                <a:cubicBezTo>
                  <a:pt x="1648" y="37"/>
                  <a:pt x="1648" y="37"/>
                  <a:pt x="1648" y="37"/>
                </a:cubicBezTo>
                <a:cubicBezTo>
                  <a:pt x="1636" y="37"/>
                  <a:pt x="1636" y="37"/>
                  <a:pt x="1636" y="37"/>
                </a:cubicBezTo>
                <a:cubicBezTo>
                  <a:pt x="1636" y="59"/>
                  <a:pt x="1636" y="59"/>
                  <a:pt x="1636" y="59"/>
                </a:cubicBezTo>
                <a:cubicBezTo>
                  <a:pt x="1648" y="59"/>
                  <a:pt x="1648" y="59"/>
                  <a:pt x="1648" y="59"/>
                </a:cubicBezTo>
                <a:cubicBezTo>
                  <a:pt x="1648" y="132"/>
                  <a:pt x="1648" y="132"/>
                  <a:pt x="1648" y="132"/>
                </a:cubicBezTo>
                <a:cubicBezTo>
                  <a:pt x="1675" y="132"/>
                  <a:pt x="1675" y="132"/>
                  <a:pt x="1675" y="132"/>
                </a:cubicBezTo>
                <a:cubicBezTo>
                  <a:pt x="1675" y="59"/>
                  <a:pt x="1675" y="59"/>
                  <a:pt x="1675" y="59"/>
                </a:cubicBezTo>
                <a:cubicBezTo>
                  <a:pt x="1697" y="59"/>
                  <a:pt x="1697" y="59"/>
                  <a:pt x="1697" y="59"/>
                </a:cubicBezTo>
                <a:lnTo>
                  <a:pt x="1697" y="37"/>
                </a:lnTo>
                <a:close/>
                <a:moveTo>
                  <a:pt x="1548" y="101"/>
                </a:moveTo>
                <a:cubicBezTo>
                  <a:pt x="1526" y="36"/>
                  <a:pt x="1526" y="36"/>
                  <a:pt x="1526" y="36"/>
                </a:cubicBezTo>
                <a:cubicBezTo>
                  <a:pt x="1497" y="36"/>
                  <a:pt x="1497" y="36"/>
                  <a:pt x="1497" y="36"/>
                </a:cubicBezTo>
                <a:cubicBezTo>
                  <a:pt x="1535" y="132"/>
                  <a:pt x="1535" y="132"/>
                  <a:pt x="1535" y="132"/>
                </a:cubicBezTo>
                <a:cubicBezTo>
                  <a:pt x="1532" y="137"/>
                  <a:pt x="1530" y="139"/>
                  <a:pt x="1525" y="139"/>
                </a:cubicBezTo>
                <a:cubicBezTo>
                  <a:pt x="1521" y="139"/>
                  <a:pt x="1517" y="137"/>
                  <a:pt x="1513" y="135"/>
                </a:cubicBezTo>
                <a:cubicBezTo>
                  <a:pt x="1504" y="155"/>
                  <a:pt x="1504" y="155"/>
                  <a:pt x="1504" y="155"/>
                </a:cubicBezTo>
                <a:cubicBezTo>
                  <a:pt x="1511" y="159"/>
                  <a:pt x="1519" y="161"/>
                  <a:pt x="1528" y="161"/>
                </a:cubicBezTo>
                <a:cubicBezTo>
                  <a:pt x="1545" y="161"/>
                  <a:pt x="1553" y="154"/>
                  <a:pt x="1560" y="134"/>
                </a:cubicBezTo>
                <a:cubicBezTo>
                  <a:pt x="1597" y="36"/>
                  <a:pt x="1597" y="36"/>
                  <a:pt x="1597" y="36"/>
                </a:cubicBezTo>
                <a:cubicBezTo>
                  <a:pt x="1569" y="36"/>
                  <a:pt x="1569" y="36"/>
                  <a:pt x="1569" y="36"/>
                </a:cubicBezTo>
                <a:lnTo>
                  <a:pt x="1548" y="101"/>
                </a:lnTo>
                <a:close/>
                <a:moveTo>
                  <a:pt x="1008" y="34"/>
                </a:moveTo>
                <a:cubicBezTo>
                  <a:pt x="994" y="34"/>
                  <a:pt x="986" y="41"/>
                  <a:pt x="980" y="49"/>
                </a:cubicBezTo>
                <a:cubicBezTo>
                  <a:pt x="980" y="1"/>
                  <a:pt x="980" y="1"/>
                  <a:pt x="980" y="1"/>
                </a:cubicBezTo>
                <a:cubicBezTo>
                  <a:pt x="952" y="1"/>
                  <a:pt x="952" y="1"/>
                  <a:pt x="952" y="1"/>
                </a:cubicBezTo>
                <a:cubicBezTo>
                  <a:pt x="952" y="132"/>
                  <a:pt x="952" y="132"/>
                  <a:pt x="952" y="132"/>
                </a:cubicBezTo>
                <a:cubicBezTo>
                  <a:pt x="980" y="132"/>
                  <a:pt x="980" y="132"/>
                  <a:pt x="980" y="132"/>
                </a:cubicBezTo>
                <a:cubicBezTo>
                  <a:pt x="980" y="78"/>
                  <a:pt x="980" y="78"/>
                  <a:pt x="980" y="78"/>
                </a:cubicBezTo>
                <a:cubicBezTo>
                  <a:pt x="980" y="65"/>
                  <a:pt x="986" y="59"/>
                  <a:pt x="997" y="59"/>
                </a:cubicBezTo>
                <a:cubicBezTo>
                  <a:pt x="1007" y="59"/>
                  <a:pt x="1013" y="65"/>
                  <a:pt x="1013" y="78"/>
                </a:cubicBezTo>
                <a:cubicBezTo>
                  <a:pt x="1013" y="132"/>
                  <a:pt x="1013" y="132"/>
                  <a:pt x="1013" y="132"/>
                </a:cubicBezTo>
                <a:cubicBezTo>
                  <a:pt x="1040" y="132"/>
                  <a:pt x="1040" y="132"/>
                  <a:pt x="1040" y="132"/>
                </a:cubicBezTo>
                <a:cubicBezTo>
                  <a:pt x="1040" y="70"/>
                  <a:pt x="1040" y="70"/>
                  <a:pt x="1040" y="70"/>
                </a:cubicBezTo>
                <a:cubicBezTo>
                  <a:pt x="1040" y="48"/>
                  <a:pt x="1028" y="34"/>
                  <a:pt x="1008" y="34"/>
                </a:cubicBezTo>
                <a:close/>
                <a:moveTo>
                  <a:pt x="1250" y="132"/>
                </a:moveTo>
                <a:cubicBezTo>
                  <a:pt x="1278" y="132"/>
                  <a:pt x="1278" y="132"/>
                  <a:pt x="1278" y="132"/>
                </a:cubicBezTo>
                <a:cubicBezTo>
                  <a:pt x="1278" y="1"/>
                  <a:pt x="1278" y="1"/>
                  <a:pt x="1278" y="1"/>
                </a:cubicBezTo>
                <a:cubicBezTo>
                  <a:pt x="1250" y="1"/>
                  <a:pt x="1250" y="1"/>
                  <a:pt x="1250" y="1"/>
                </a:cubicBezTo>
                <a:lnTo>
                  <a:pt x="1250" y="132"/>
                </a:lnTo>
                <a:close/>
                <a:moveTo>
                  <a:pt x="1103" y="34"/>
                </a:moveTo>
                <a:cubicBezTo>
                  <a:pt x="1089" y="34"/>
                  <a:pt x="1081" y="41"/>
                  <a:pt x="1075" y="49"/>
                </a:cubicBezTo>
                <a:cubicBezTo>
                  <a:pt x="1075" y="36"/>
                  <a:pt x="1075" y="36"/>
                  <a:pt x="1075" y="36"/>
                </a:cubicBezTo>
                <a:cubicBezTo>
                  <a:pt x="1047" y="36"/>
                  <a:pt x="1047" y="36"/>
                  <a:pt x="1047" y="36"/>
                </a:cubicBezTo>
                <a:cubicBezTo>
                  <a:pt x="1047" y="132"/>
                  <a:pt x="1047" y="132"/>
                  <a:pt x="1047" y="132"/>
                </a:cubicBezTo>
                <a:cubicBezTo>
                  <a:pt x="1075" y="132"/>
                  <a:pt x="1075" y="132"/>
                  <a:pt x="1075" y="132"/>
                </a:cubicBezTo>
                <a:cubicBezTo>
                  <a:pt x="1075" y="78"/>
                  <a:pt x="1075" y="78"/>
                  <a:pt x="1075" y="78"/>
                </a:cubicBezTo>
                <a:cubicBezTo>
                  <a:pt x="1075" y="65"/>
                  <a:pt x="1081" y="59"/>
                  <a:pt x="1092" y="59"/>
                </a:cubicBezTo>
                <a:cubicBezTo>
                  <a:pt x="1102" y="59"/>
                  <a:pt x="1108" y="65"/>
                  <a:pt x="1108" y="78"/>
                </a:cubicBezTo>
                <a:cubicBezTo>
                  <a:pt x="1108" y="132"/>
                  <a:pt x="1108" y="132"/>
                  <a:pt x="1108" y="132"/>
                </a:cubicBezTo>
                <a:cubicBezTo>
                  <a:pt x="1135" y="132"/>
                  <a:pt x="1135" y="132"/>
                  <a:pt x="1135" y="132"/>
                </a:cubicBezTo>
                <a:cubicBezTo>
                  <a:pt x="1135" y="70"/>
                  <a:pt x="1135" y="70"/>
                  <a:pt x="1135" y="70"/>
                </a:cubicBezTo>
                <a:cubicBezTo>
                  <a:pt x="1135" y="48"/>
                  <a:pt x="1123" y="34"/>
                  <a:pt x="1103" y="34"/>
                </a:cubicBezTo>
                <a:close/>
                <a:moveTo>
                  <a:pt x="910" y="111"/>
                </a:moveTo>
                <a:cubicBezTo>
                  <a:pt x="895" y="111"/>
                  <a:pt x="885" y="99"/>
                  <a:pt x="885" y="84"/>
                </a:cubicBezTo>
                <a:cubicBezTo>
                  <a:pt x="885" y="84"/>
                  <a:pt x="885" y="84"/>
                  <a:pt x="885" y="84"/>
                </a:cubicBezTo>
                <a:cubicBezTo>
                  <a:pt x="885" y="70"/>
                  <a:pt x="895" y="58"/>
                  <a:pt x="909" y="58"/>
                </a:cubicBezTo>
                <a:cubicBezTo>
                  <a:pt x="918" y="58"/>
                  <a:pt x="925" y="62"/>
                  <a:pt x="931" y="68"/>
                </a:cubicBezTo>
                <a:cubicBezTo>
                  <a:pt x="947" y="50"/>
                  <a:pt x="947" y="50"/>
                  <a:pt x="947" y="50"/>
                </a:cubicBezTo>
                <a:cubicBezTo>
                  <a:pt x="938" y="40"/>
                  <a:pt x="927" y="34"/>
                  <a:pt x="909" y="34"/>
                </a:cubicBezTo>
                <a:cubicBezTo>
                  <a:pt x="880" y="34"/>
                  <a:pt x="859" y="57"/>
                  <a:pt x="859" y="84"/>
                </a:cubicBezTo>
                <a:cubicBezTo>
                  <a:pt x="859" y="84"/>
                  <a:pt x="859" y="84"/>
                  <a:pt x="859" y="84"/>
                </a:cubicBezTo>
                <a:cubicBezTo>
                  <a:pt x="859" y="112"/>
                  <a:pt x="880" y="134"/>
                  <a:pt x="909" y="134"/>
                </a:cubicBezTo>
                <a:cubicBezTo>
                  <a:pt x="928" y="134"/>
                  <a:pt x="939" y="127"/>
                  <a:pt x="948" y="117"/>
                </a:cubicBezTo>
                <a:cubicBezTo>
                  <a:pt x="932" y="100"/>
                  <a:pt x="932" y="100"/>
                  <a:pt x="932" y="100"/>
                </a:cubicBezTo>
                <a:cubicBezTo>
                  <a:pt x="925" y="107"/>
                  <a:pt x="919" y="111"/>
                  <a:pt x="910" y="111"/>
                </a:cubicBezTo>
                <a:close/>
                <a:moveTo>
                  <a:pt x="1945" y="35"/>
                </a:moveTo>
                <a:cubicBezTo>
                  <a:pt x="1929" y="35"/>
                  <a:pt x="1918" y="38"/>
                  <a:pt x="1908" y="42"/>
                </a:cubicBezTo>
                <a:cubicBezTo>
                  <a:pt x="1915" y="63"/>
                  <a:pt x="1915" y="63"/>
                  <a:pt x="1915" y="63"/>
                </a:cubicBezTo>
                <a:cubicBezTo>
                  <a:pt x="1923" y="60"/>
                  <a:pt x="1931" y="58"/>
                  <a:pt x="1941" y="58"/>
                </a:cubicBezTo>
                <a:cubicBezTo>
                  <a:pt x="1955" y="58"/>
                  <a:pt x="1962" y="64"/>
                  <a:pt x="1962" y="76"/>
                </a:cubicBezTo>
                <a:cubicBezTo>
                  <a:pt x="1962" y="77"/>
                  <a:pt x="1962" y="77"/>
                  <a:pt x="1962" y="77"/>
                </a:cubicBezTo>
                <a:cubicBezTo>
                  <a:pt x="1955" y="75"/>
                  <a:pt x="1948" y="73"/>
                  <a:pt x="1938" y="73"/>
                </a:cubicBezTo>
                <a:cubicBezTo>
                  <a:pt x="1915" y="73"/>
                  <a:pt x="1899" y="83"/>
                  <a:pt x="1899" y="104"/>
                </a:cubicBezTo>
                <a:cubicBezTo>
                  <a:pt x="1899" y="104"/>
                  <a:pt x="1899" y="104"/>
                  <a:pt x="1899" y="104"/>
                </a:cubicBezTo>
                <a:cubicBezTo>
                  <a:pt x="1899" y="123"/>
                  <a:pt x="1914" y="134"/>
                  <a:pt x="1932" y="134"/>
                </a:cubicBezTo>
                <a:cubicBezTo>
                  <a:pt x="1946" y="134"/>
                  <a:pt x="1955" y="129"/>
                  <a:pt x="1962" y="122"/>
                </a:cubicBezTo>
                <a:cubicBezTo>
                  <a:pt x="1962" y="132"/>
                  <a:pt x="1962" y="132"/>
                  <a:pt x="1962" y="132"/>
                </a:cubicBezTo>
                <a:cubicBezTo>
                  <a:pt x="1988" y="132"/>
                  <a:pt x="1988" y="132"/>
                  <a:pt x="1988" y="132"/>
                </a:cubicBezTo>
                <a:cubicBezTo>
                  <a:pt x="1988" y="76"/>
                  <a:pt x="1988" y="76"/>
                  <a:pt x="1988" y="76"/>
                </a:cubicBezTo>
                <a:cubicBezTo>
                  <a:pt x="1988" y="63"/>
                  <a:pt x="1985" y="53"/>
                  <a:pt x="1978" y="46"/>
                </a:cubicBezTo>
                <a:cubicBezTo>
                  <a:pt x="1971" y="39"/>
                  <a:pt x="1960" y="35"/>
                  <a:pt x="1945" y="35"/>
                </a:cubicBezTo>
                <a:close/>
                <a:moveTo>
                  <a:pt x="1962" y="98"/>
                </a:moveTo>
                <a:cubicBezTo>
                  <a:pt x="1962" y="108"/>
                  <a:pt x="1953" y="115"/>
                  <a:pt x="1941" y="115"/>
                </a:cubicBezTo>
                <a:cubicBezTo>
                  <a:pt x="1932" y="115"/>
                  <a:pt x="1926" y="111"/>
                  <a:pt x="1926" y="103"/>
                </a:cubicBezTo>
                <a:cubicBezTo>
                  <a:pt x="1926" y="103"/>
                  <a:pt x="1926" y="103"/>
                  <a:pt x="1926" y="103"/>
                </a:cubicBezTo>
                <a:cubicBezTo>
                  <a:pt x="1926" y="94"/>
                  <a:pt x="1933" y="90"/>
                  <a:pt x="1945" y="90"/>
                </a:cubicBezTo>
                <a:cubicBezTo>
                  <a:pt x="1951" y="90"/>
                  <a:pt x="1957" y="91"/>
                  <a:pt x="1962" y="93"/>
                </a:cubicBezTo>
                <a:lnTo>
                  <a:pt x="1962" y="98"/>
                </a:lnTo>
                <a:close/>
                <a:moveTo>
                  <a:pt x="1193" y="34"/>
                </a:moveTo>
                <a:cubicBezTo>
                  <a:pt x="1163" y="34"/>
                  <a:pt x="1141" y="56"/>
                  <a:pt x="1141" y="84"/>
                </a:cubicBezTo>
                <a:cubicBezTo>
                  <a:pt x="1141" y="84"/>
                  <a:pt x="1141" y="84"/>
                  <a:pt x="1141" y="84"/>
                </a:cubicBezTo>
                <a:cubicBezTo>
                  <a:pt x="1141" y="112"/>
                  <a:pt x="1163" y="134"/>
                  <a:pt x="1193" y="134"/>
                </a:cubicBezTo>
                <a:cubicBezTo>
                  <a:pt x="1223" y="134"/>
                  <a:pt x="1245" y="112"/>
                  <a:pt x="1245" y="84"/>
                </a:cubicBezTo>
                <a:cubicBezTo>
                  <a:pt x="1245" y="84"/>
                  <a:pt x="1245" y="84"/>
                  <a:pt x="1245" y="84"/>
                </a:cubicBezTo>
                <a:cubicBezTo>
                  <a:pt x="1245" y="56"/>
                  <a:pt x="1223" y="34"/>
                  <a:pt x="1193" y="34"/>
                </a:cubicBezTo>
                <a:close/>
                <a:moveTo>
                  <a:pt x="1218" y="84"/>
                </a:moveTo>
                <a:cubicBezTo>
                  <a:pt x="1218" y="99"/>
                  <a:pt x="1209" y="111"/>
                  <a:pt x="1193" y="111"/>
                </a:cubicBezTo>
                <a:cubicBezTo>
                  <a:pt x="1178" y="111"/>
                  <a:pt x="1168" y="98"/>
                  <a:pt x="1168" y="84"/>
                </a:cubicBezTo>
                <a:cubicBezTo>
                  <a:pt x="1168" y="84"/>
                  <a:pt x="1168" y="84"/>
                  <a:pt x="1168" y="84"/>
                </a:cubicBezTo>
                <a:cubicBezTo>
                  <a:pt x="1168" y="70"/>
                  <a:pt x="1177" y="58"/>
                  <a:pt x="1193" y="58"/>
                </a:cubicBezTo>
                <a:cubicBezTo>
                  <a:pt x="1208" y="58"/>
                  <a:pt x="1218" y="70"/>
                  <a:pt x="1218" y="84"/>
                </a:cubicBezTo>
                <a:close/>
              </a:path>
            </a:pathLst>
          </a:custGeom>
          <a:gradFill>
            <a:gsLst>
              <a:gs pos="100000">
                <a:srgbClr val="F15F22"/>
              </a:gs>
              <a:gs pos="54000">
                <a:srgbClr val="F06422"/>
              </a:gs>
              <a:gs pos="76000">
                <a:srgbClr val="E32526"/>
              </a:gs>
              <a:gs pos="0">
                <a:srgbClr val="E32F2A"/>
              </a:gs>
              <a:gs pos="26000">
                <a:srgbClr val="A32022"/>
              </a:gs>
            </a:gsLst>
            <a:lin ang="2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933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395509-6E79-4D94-89B9-5DD427847EE5}"/>
              </a:ext>
            </a:extLst>
          </p:cNvPr>
          <p:cNvSpPr txBox="1"/>
          <p:nvPr userDrawn="1"/>
        </p:nvSpPr>
        <p:spPr>
          <a:xfrm>
            <a:off x="548783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1A4F9A-E7A5-4941-A47B-3E7B3C7BBF7E}"/>
              </a:ext>
            </a:extLst>
          </p:cNvPr>
          <p:cNvSpPr/>
          <p:nvPr userDrawn="1"/>
        </p:nvSpPr>
        <p:spPr>
          <a:xfrm>
            <a:off x="548782" y="48690399"/>
            <a:ext cx="853662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This document is Lenovo restricted and intended for viewing by and distribution to only designated individuals or positions. Duplication/reproduction prohibited.</a:t>
            </a:r>
          </a:p>
        </p:txBody>
      </p:sp>
    </p:spTree>
    <p:extLst>
      <p:ext uri="{BB962C8B-B14F-4D97-AF65-F5344CB8AC3E}">
        <p14:creationId xmlns:p14="http://schemas.microsoft.com/office/powerpoint/2010/main" val="782582316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783" y="12364790"/>
            <a:ext cx="9962830" cy="21302378"/>
          </a:xfrm>
          <a:prstGeom prst="rect">
            <a:avLst/>
          </a:prstGeom>
        </p:spPr>
        <p:txBody>
          <a:bodyPr lIns="0" tIns="0" rIns="121899" bIns="0" anchor="b" anchorCtr="0"/>
          <a:lstStyle>
            <a:lvl1pPr marL="0" algn="l" defTabSz="1218987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US" sz="80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 here</a:t>
            </a:r>
            <a:br>
              <a:rPr lang="en-US" dirty="0"/>
            </a:br>
            <a:r>
              <a:rPr lang="en-US" dirty="0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783" y="34675166"/>
            <a:ext cx="9952388" cy="335999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9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| Date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548783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E4354B5-047A-475C-B07D-46E2DFF45FA8}"/>
              </a:ext>
            </a:extLst>
          </p:cNvPr>
          <p:cNvGrpSpPr>
            <a:grpSpLocks noChangeAspect="1"/>
          </p:cNvGrpSpPr>
          <p:nvPr userDrawn="1"/>
        </p:nvGrpSpPr>
        <p:grpSpPr>
          <a:xfrm rot="16200000">
            <a:off x="-1249978" y="18585557"/>
            <a:ext cx="25716182" cy="1167779"/>
            <a:chOff x="547688" y="952500"/>
            <a:chExt cx="12190413" cy="4067175"/>
          </a:xfrm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3F3F616-0187-486C-92AE-8E9BB4F5D8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gradFill flip="none" rotWithShape="1">
              <a:gsLst>
                <a:gs pos="0">
                  <a:srgbClr val="F2A11F"/>
                </a:gs>
                <a:gs pos="37000">
                  <a:srgbClr val="EC5124"/>
                </a:gs>
                <a:gs pos="79000">
                  <a:srgbClr val="D32A27"/>
                </a:gs>
                <a:gs pos="100000">
                  <a:srgbClr val="7A425E"/>
                </a:gs>
              </a:gsLst>
              <a:lin ang="2400000" scaled="0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96" name="Freeform 7">
              <a:extLst>
                <a:ext uri="{FF2B5EF4-FFF2-40B4-BE49-F238E27FC236}">
                  <a16:creationId xmlns:a16="http://schemas.microsoft.com/office/drawing/2014/main" id="{39D476EA-97BB-4757-AE8D-46ABA28B57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97" name="Freeform 8">
              <a:extLst>
                <a:ext uri="{FF2B5EF4-FFF2-40B4-BE49-F238E27FC236}">
                  <a16:creationId xmlns:a16="http://schemas.microsoft.com/office/drawing/2014/main" id="{83FC1BD3-A3C2-46E0-8E09-0F43D0DB3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98" name="Freeform 9">
              <a:extLst>
                <a:ext uri="{FF2B5EF4-FFF2-40B4-BE49-F238E27FC236}">
                  <a16:creationId xmlns:a16="http://schemas.microsoft.com/office/drawing/2014/main" id="{B07C1556-FAA5-423D-9C3E-BFD6B99A6BB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99" name="Freeform 10">
              <a:extLst>
                <a:ext uri="{FF2B5EF4-FFF2-40B4-BE49-F238E27FC236}">
                  <a16:creationId xmlns:a16="http://schemas.microsoft.com/office/drawing/2014/main" id="{1DB9EF8A-92AF-4FB6-9EB8-BBB43909F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00" name="Freeform 10">
              <a:extLst>
                <a:ext uri="{FF2B5EF4-FFF2-40B4-BE49-F238E27FC236}">
                  <a16:creationId xmlns:a16="http://schemas.microsoft.com/office/drawing/2014/main" id="{07C51CC9-E5B8-4E20-A914-408659940A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01" name="Freeform 11">
              <a:extLst>
                <a:ext uri="{FF2B5EF4-FFF2-40B4-BE49-F238E27FC236}">
                  <a16:creationId xmlns:a16="http://schemas.microsoft.com/office/drawing/2014/main" id="{B5BD15B5-4CE4-4224-95C9-541647C539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</p:grpSp>
      <p:sp>
        <p:nvSpPr>
          <p:cNvPr id="102" name="Freeform 5">
            <a:extLst>
              <a:ext uri="{FF2B5EF4-FFF2-40B4-BE49-F238E27FC236}">
                <a16:creationId xmlns:a16="http://schemas.microsoft.com/office/drawing/2014/main" id="{8B5168CF-498E-4EAB-8120-11D6F683504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48787" y="6311345"/>
            <a:ext cx="3942091" cy="2296364"/>
          </a:xfrm>
          <a:custGeom>
            <a:avLst/>
            <a:gdLst>
              <a:gd name="T0" fmla="*/ 557 w 2065"/>
              <a:gd name="T1" fmla="*/ 102 h 161"/>
              <a:gd name="T2" fmla="*/ 510 w 2065"/>
              <a:gd name="T3" fmla="*/ 76 h 161"/>
              <a:gd name="T4" fmla="*/ 583 w 2065"/>
              <a:gd name="T5" fmla="*/ 36 h 161"/>
              <a:gd name="T6" fmla="*/ 641 w 2065"/>
              <a:gd name="T7" fmla="*/ 34 h 161"/>
              <a:gd name="T8" fmla="*/ 2038 w 2065"/>
              <a:gd name="T9" fmla="*/ 1 h 161"/>
              <a:gd name="T10" fmla="*/ 706 w 2065"/>
              <a:gd name="T11" fmla="*/ 59 h 161"/>
              <a:gd name="T12" fmla="*/ 733 w 2065"/>
              <a:gd name="T13" fmla="*/ 100 h 161"/>
              <a:gd name="T14" fmla="*/ 1999 w 2065"/>
              <a:gd name="T15" fmla="*/ 132 h 161"/>
              <a:gd name="T16" fmla="*/ 760 w 2065"/>
              <a:gd name="T17" fmla="*/ 84 h 161"/>
              <a:gd name="T18" fmla="*/ 787 w 2065"/>
              <a:gd name="T19" fmla="*/ 93 h 161"/>
              <a:gd name="T20" fmla="*/ 828 w 2065"/>
              <a:gd name="T21" fmla="*/ 76 h 161"/>
              <a:gd name="T22" fmla="*/ 133 w 2065"/>
              <a:gd name="T23" fmla="*/ 36 h 161"/>
              <a:gd name="T24" fmla="*/ 166 w 2065"/>
              <a:gd name="T25" fmla="*/ 78 h 161"/>
              <a:gd name="T26" fmla="*/ 225 w 2065"/>
              <a:gd name="T27" fmla="*/ 132 h 161"/>
              <a:gd name="T28" fmla="*/ 32 w 2065"/>
              <a:gd name="T29" fmla="*/ 40 h 161"/>
              <a:gd name="T30" fmla="*/ 5 w 2065"/>
              <a:gd name="T31" fmla="*/ 43 h 161"/>
              <a:gd name="T32" fmla="*/ 0 w 2065"/>
              <a:gd name="T33" fmla="*/ 114 h 161"/>
              <a:gd name="T34" fmla="*/ 266 w 2065"/>
              <a:gd name="T35" fmla="*/ 43 h 161"/>
              <a:gd name="T36" fmla="*/ 258 w 2065"/>
              <a:gd name="T37" fmla="*/ 104 h 161"/>
              <a:gd name="T38" fmla="*/ 347 w 2065"/>
              <a:gd name="T39" fmla="*/ 76 h 161"/>
              <a:gd name="T40" fmla="*/ 285 w 2065"/>
              <a:gd name="T41" fmla="*/ 103 h 161"/>
              <a:gd name="T42" fmla="*/ 429 w 2065"/>
              <a:gd name="T43" fmla="*/ 36 h 161"/>
              <a:gd name="T44" fmla="*/ 479 w 2065"/>
              <a:gd name="T45" fmla="*/ 128 h 161"/>
              <a:gd name="T46" fmla="*/ 479 w 2065"/>
              <a:gd name="T47" fmla="*/ 36 h 161"/>
              <a:gd name="T48" fmla="*/ 354 w 2065"/>
              <a:gd name="T49" fmla="*/ 132 h 161"/>
              <a:gd name="T50" fmla="*/ 382 w 2065"/>
              <a:gd name="T51" fmla="*/ 55 h 161"/>
              <a:gd name="T52" fmla="*/ 1387 w 2065"/>
              <a:gd name="T53" fmla="*/ 84 h 161"/>
              <a:gd name="T54" fmla="*/ 1335 w 2065"/>
              <a:gd name="T55" fmla="*/ 58 h 161"/>
              <a:gd name="T56" fmla="*/ 1834 w 2065"/>
              <a:gd name="T57" fmla="*/ 132 h 161"/>
              <a:gd name="T58" fmla="*/ 1748 w 2065"/>
              <a:gd name="T59" fmla="*/ 34 h 161"/>
              <a:gd name="T60" fmla="*/ 1748 w 2065"/>
              <a:gd name="T61" fmla="*/ 34 h 161"/>
              <a:gd name="T62" fmla="*/ 1773 w 2065"/>
              <a:gd name="T63" fmla="*/ 84 h 161"/>
              <a:gd name="T64" fmla="*/ 1465 w 2065"/>
              <a:gd name="T65" fmla="*/ 109 h 161"/>
              <a:gd name="T66" fmla="*/ 1480 w 2065"/>
              <a:gd name="T67" fmla="*/ 148 h 161"/>
              <a:gd name="T68" fmla="*/ 1442 w 2065"/>
              <a:gd name="T69" fmla="*/ 102 h 161"/>
              <a:gd name="T70" fmla="*/ 1675 w 2065"/>
              <a:gd name="T71" fmla="*/ 37 h 161"/>
              <a:gd name="T72" fmla="*/ 1655 w 2065"/>
              <a:gd name="T73" fmla="*/ 7 h 161"/>
              <a:gd name="T74" fmla="*/ 1648 w 2065"/>
              <a:gd name="T75" fmla="*/ 132 h 161"/>
              <a:gd name="T76" fmla="*/ 1526 w 2065"/>
              <a:gd name="T77" fmla="*/ 36 h 161"/>
              <a:gd name="T78" fmla="*/ 1528 w 2065"/>
              <a:gd name="T79" fmla="*/ 161 h 161"/>
              <a:gd name="T80" fmla="*/ 980 w 2065"/>
              <a:gd name="T81" fmla="*/ 49 h 161"/>
              <a:gd name="T82" fmla="*/ 997 w 2065"/>
              <a:gd name="T83" fmla="*/ 59 h 161"/>
              <a:gd name="T84" fmla="*/ 1250 w 2065"/>
              <a:gd name="T85" fmla="*/ 132 h 161"/>
              <a:gd name="T86" fmla="*/ 1075 w 2065"/>
              <a:gd name="T87" fmla="*/ 49 h 161"/>
              <a:gd name="T88" fmla="*/ 1092 w 2065"/>
              <a:gd name="T89" fmla="*/ 59 h 161"/>
              <a:gd name="T90" fmla="*/ 910 w 2065"/>
              <a:gd name="T91" fmla="*/ 111 h 161"/>
              <a:gd name="T92" fmla="*/ 909 w 2065"/>
              <a:gd name="T93" fmla="*/ 34 h 161"/>
              <a:gd name="T94" fmla="*/ 910 w 2065"/>
              <a:gd name="T95" fmla="*/ 111 h 161"/>
              <a:gd name="T96" fmla="*/ 1962 w 2065"/>
              <a:gd name="T97" fmla="*/ 77 h 161"/>
              <a:gd name="T98" fmla="*/ 1962 w 2065"/>
              <a:gd name="T99" fmla="*/ 132 h 161"/>
              <a:gd name="T100" fmla="*/ 1941 w 2065"/>
              <a:gd name="T101" fmla="*/ 115 h 161"/>
              <a:gd name="T102" fmla="*/ 1193 w 2065"/>
              <a:gd name="T103" fmla="*/ 34 h 161"/>
              <a:gd name="T104" fmla="*/ 1193 w 2065"/>
              <a:gd name="T105" fmla="*/ 34 h 161"/>
              <a:gd name="T106" fmla="*/ 1218 w 2065"/>
              <a:gd name="T107" fmla="*/ 84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5" h="161">
                <a:moveTo>
                  <a:pt x="530" y="34"/>
                </a:moveTo>
                <a:cubicBezTo>
                  <a:pt x="502" y="34"/>
                  <a:pt x="483" y="57"/>
                  <a:pt x="483" y="84"/>
                </a:cubicBezTo>
                <a:cubicBezTo>
                  <a:pt x="483" y="84"/>
                  <a:pt x="483" y="84"/>
                  <a:pt x="483" y="84"/>
                </a:cubicBezTo>
                <a:cubicBezTo>
                  <a:pt x="483" y="114"/>
                  <a:pt x="504" y="134"/>
                  <a:pt x="533" y="134"/>
                </a:cubicBezTo>
                <a:cubicBezTo>
                  <a:pt x="551" y="134"/>
                  <a:pt x="563" y="127"/>
                  <a:pt x="572" y="116"/>
                </a:cubicBezTo>
                <a:cubicBezTo>
                  <a:pt x="557" y="102"/>
                  <a:pt x="557" y="102"/>
                  <a:pt x="557" y="102"/>
                </a:cubicBezTo>
                <a:cubicBezTo>
                  <a:pt x="549" y="109"/>
                  <a:pt x="543" y="112"/>
                  <a:pt x="533" y="112"/>
                </a:cubicBezTo>
                <a:cubicBezTo>
                  <a:pt x="521" y="112"/>
                  <a:pt x="513" y="106"/>
                  <a:pt x="510" y="93"/>
                </a:cubicBezTo>
                <a:cubicBezTo>
                  <a:pt x="577" y="93"/>
                  <a:pt x="577" y="93"/>
                  <a:pt x="577" y="93"/>
                </a:cubicBezTo>
                <a:cubicBezTo>
                  <a:pt x="577" y="91"/>
                  <a:pt x="577" y="88"/>
                  <a:pt x="577" y="86"/>
                </a:cubicBezTo>
                <a:cubicBezTo>
                  <a:pt x="577" y="59"/>
                  <a:pt x="563" y="34"/>
                  <a:pt x="530" y="34"/>
                </a:cubicBezTo>
                <a:close/>
                <a:moveTo>
                  <a:pt x="510" y="76"/>
                </a:moveTo>
                <a:cubicBezTo>
                  <a:pt x="512" y="64"/>
                  <a:pt x="519" y="56"/>
                  <a:pt x="530" y="56"/>
                </a:cubicBezTo>
                <a:cubicBezTo>
                  <a:pt x="542" y="56"/>
                  <a:pt x="549" y="64"/>
                  <a:pt x="551" y="76"/>
                </a:cubicBezTo>
                <a:lnTo>
                  <a:pt x="510" y="76"/>
                </a:lnTo>
                <a:close/>
                <a:moveTo>
                  <a:pt x="610" y="55"/>
                </a:moveTo>
                <a:cubicBezTo>
                  <a:pt x="610" y="36"/>
                  <a:pt x="610" y="36"/>
                  <a:pt x="610" y="36"/>
                </a:cubicBezTo>
                <a:cubicBezTo>
                  <a:pt x="583" y="36"/>
                  <a:pt x="583" y="36"/>
                  <a:pt x="583" y="36"/>
                </a:cubicBezTo>
                <a:cubicBezTo>
                  <a:pt x="583" y="132"/>
                  <a:pt x="583" y="132"/>
                  <a:pt x="583" y="132"/>
                </a:cubicBezTo>
                <a:cubicBezTo>
                  <a:pt x="610" y="132"/>
                  <a:pt x="610" y="132"/>
                  <a:pt x="610" y="132"/>
                </a:cubicBezTo>
                <a:cubicBezTo>
                  <a:pt x="610" y="97"/>
                  <a:pt x="610" y="97"/>
                  <a:pt x="610" y="97"/>
                </a:cubicBezTo>
                <a:cubicBezTo>
                  <a:pt x="610" y="74"/>
                  <a:pt x="621" y="63"/>
                  <a:pt x="640" y="63"/>
                </a:cubicBezTo>
                <a:cubicBezTo>
                  <a:pt x="641" y="63"/>
                  <a:pt x="641" y="63"/>
                  <a:pt x="641" y="63"/>
                </a:cubicBezTo>
                <a:cubicBezTo>
                  <a:pt x="641" y="34"/>
                  <a:pt x="641" y="34"/>
                  <a:pt x="641" y="34"/>
                </a:cubicBezTo>
                <a:cubicBezTo>
                  <a:pt x="625" y="33"/>
                  <a:pt x="616" y="42"/>
                  <a:pt x="610" y="55"/>
                </a:cubicBezTo>
                <a:close/>
                <a:moveTo>
                  <a:pt x="2038" y="1"/>
                </a:moveTo>
                <a:cubicBezTo>
                  <a:pt x="2038" y="132"/>
                  <a:pt x="2038" y="132"/>
                  <a:pt x="2038" y="132"/>
                </a:cubicBezTo>
                <a:cubicBezTo>
                  <a:pt x="2065" y="132"/>
                  <a:pt x="2065" y="132"/>
                  <a:pt x="2065" y="132"/>
                </a:cubicBezTo>
                <a:cubicBezTo>
                  <a:pt x="2065" y="1"/>
                  <a:pt x="2065" y="1"/>
                  <a:pt x="2065" y="1"/>
                </a:cubicBezTo>
                <a:lnTo>
                  <a:pt x="2038" y="1"/>
                </a:lnTo>
                <a:close/>
                <a:moveTo>
                  <a:pt x="733" y="11"/>
                </a:moveTo>
                <a:cubicBezTo>
                  <a:pt x="706" y="11"/>
                  <a:pt x="706" y="11"/>
                  <a:pt x="706" y="11"/>
                </a:cubicBezTo>
                <a:cubicBezTo>
                  <a:pt x="706" y="36"/>
                  <a:pt x="706" y="36"/>
                  <a:pt x="706" y="36"/>
                </a:cubicBezTo>
                <a:cubicBezTo>
                  <a:pt x="694" y="36"/>
                  <a:pt x="694" y="36"/>
                  <a:pt x="694" y="36"/>
                </a:cubicBezTo>
                <a:cubicBezTo>
                  <a:pt x="694" y="59"/>
                  <a:pt x="694" y="59"/>
                  <a:pt x="694" y="59"/>
                </a:cubicBezTo>
                <a:cubicBezTo>
                  <a:pt x="706" y="59"/>
                  <a:pt x="706" y="59"/>
                  <a:pt x="706" y="59"/>
                </a:cubicBezTo>
                <a:cubicBezTo>
                  <a:pt x="706" y="105"/>
                  <a:pt x="706" y="105"/>
                  <a:pt x="706" y="105"/>
                </a:cubicBezTo>
                <a:cubicBezTo>
                  <a:pt x="706" y="127"/>
                  <a:pt x="717" y="134"/>
                  <a:pt x="734" y="134"/>
                </a:cubicBezTo>
                <a:cubicBezTo>
                  <a:pt x="743" y="134"/>
                  <a:pt x="750" y="132"/>
                  <a:pt x="755" y="128"/>
                </a:cubicBezTo>
                <a:cubicBezTo>
                  <a:pt x="755" y="106"/>
                  <a:pt x="755" y="106"/>
                  <a:pt x="755" y="106"/>
                </a:cubicBezTo>
                <a:cubicBezTo>
                  <a:pt x="752" y="108"/>
                  <a:pt x="747" y="110"/>
                  <a:pt x="742" y="110"/>
                </a:cubicBezTo>
                <a:cubicBezTo>
                  <a:pt x="736" y="110"/>
                  <a:pt x="733" y="107"/>
                  <a:pt x="733" y="100"/>
                </a:cubicBezTo>
                <a:cubicBezTo>
                  <a:pt x="733" y="59"/>
                  <a:pt x="733" y="59"/>
                  <a:pt x="733" y="59"/>
                </a:cubicBezTo>
                <a:cubicBezTo>
                  <a:pt x="756" y="59"/>
                  <a:pt x="756" y="59"/>
                  <a:pt x="756" y="59"/>
                </a:cubicBezTo>
                <a:cubicBezTo>
                  <a:pt x="756" y="36"/>
                  <a:pt x="756" y="36"/>
                  <a:pt x="756" y="36"/>
                </a:cubicBezTo>
                <a:cubicBezTo>
                  <a:pt x="733" y="36"/>
                  <a:pt x="733" y="36"/>
                  <a:pt x="733" y="36"/>
                </a:cubicBezTo>
                <a:lnTo>
                  <a:pt x="733" y="11"/>
                </a:lnTo>
                <a:close/>
                <a:moveTo>
                  <a:pt x="1999" y="132"/>
                </a:moveTo>
                <a:cubicBezTo>
                  <a:pt x="2027" y="132"/>
                  <a:pt x="2027" y="132"/>
                  <a:pt x="2027" y="132"/>
                </a:cubicBezTo>
                <a:cubicBezTo>
                  <a:pt x="2027" y="1"/>
                  <a:pt x="2027" y="1"/>
                  <a:pt x="2027" y="1"/>
                </a:cubicBezTo>
                <a:cubicBezTo>
                  <a:pt x="1999" y="1"/>
                  <a:pt x="1999" y="1"/>
                  <a:pt x="1999" y="1"/>
                </a:cubicBezTo>
                <a:lnTo>
                  <a:pt x="1999" y="132"/>
                </a:lnTo>
                <a:close/>
                <a:moveTo>
                  <a:pt x="807" y="34"/>
                </a:moveTo>
                <a:cubicBezTo>
                  <a:pt x="779" y="34"/>
                  <a:pt x="760" y="57"/>
                  <a:pt x="760" y="84"/>
                </a:cubicBezTo>
                <a:cubicBezTo>
                  <a:pt x="760" y="84"/>
                  <a:pt x="760" y="84"/>
                  <a:pt x="760" y="84"/>
                </a:cubicBezTo>
                <a:cubicBezTo>
                  <a:pt x="760" y="114"/>
                  <a:pt x="781" y="134"/>
                  <a:pt x="810" y="134"/>
                </a:cubicBezTo>
                <a:cubicBezTo>
                  <a:pt x="827" y="134"/>
                  <a:pt x="840" y="127"/>
                  <a:pt x="849" y="116"/>
                </a:cubicBezTo>
                <a:cubicBezTo>
                  <a:pt x="834" y="102"/>
                  <a:pt x="834" y="102"/>
                  <a:pt x="834" y="102"/>
                </a:cubicBezTo>
                <a:cubicBezTo>
                  <a:pt x="826" y="109"/>
                  <a:pt x="820" y="112"/>
                  <a:pt x="810" y="112"/>
                </a:cubicBezTo>
                <a:cubicBezTo>
                  <a:pt x="798" y="112"/>
                  <a:pt x="790" y="106"/>
                  <a:pt x="787" y="93"/>
                </a:cubicBezTo>
                <a:cubicBezTo>
                  <a:pt x="854" y="93"/>
                  <a:pt x="854" y="93"/>
                  <a:pt x="854" y="93"/>
                </a:cubicBezTo>
                <a:cubicBezTo>
                  <a:pt x="854" y="91"/>
                  <a:pt x="854" y="88"/>
                  <a:pt x="854" y="86"/>
                </a:cubicBezTo>
                <a:cubicBezTo>
                  <a:pt x="854" y="59"/>
                  <a:pt x="839" y="34"/>
                  <a:pt x="807" y="34"/>
                </a:cubicBezTo>
                <a:close/>
                <a:moveTo>
                  <a:pt x="787" y="76"/>
                </a:moveTo>
                <a:cubicBezTo>
                  <a:pt x="789" y="64"/>
                  <a:pt x="796" y="56"/>
                  <a:pt x="807" y="56"/>
                </a:cubicBezTo>
                <a:cubicBezTo>
                  <a:pt x="819" y="56"/>
                  <a:pt x="826" y="64"/>
                  <a:pt x="828" y="76"/>
                </a:cubicBezTo>
                <a:lnTo>
                  <a:pt x="787" y="76"/>
                </a:lnTo>
                <a:close/>
                <a:moveTo>
                  <a:pt x="220" y="34"/>
                </a:moveTo>
                <a:cubicBezTo>
                  <a:pt x="207" y="34"/>
                  <a:pt x="197" y="39"/>
                  <a:pt x="189" y="49"/>
                </a:cubicBezTo>
                <a:cubicBezTo>
                  <a:pt x="184" y="40"/>
                  <a:pt x="174" y="34"/>
                  <a:pt x="161" y="34"/>
                </a:cubicBezTo>
                <a:cubicBezTo>
                  <a:pt x="148" y="34"/>
                  <a:pt x="139" y="41"/>
                  <a:pt x="133" y="50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06" y="36"/>
                  <a:pt x="106" y="36"/>
                  <a:pt x="106" y="36"/>
                </a:cubicBezTo>
                <a:cubicBezTo>
                  <a:pt x="106" y="132"/>
                  <a:pt x="106" y="132"/>
                  <a:pt x="106" y="132"/>
                </a:cubicBezTo>
                <a:cubicBezTo>
                  <a:pt x="133" y="132"/>
                  <a:pt x="133" y="132"/>
                  <a:pt x="133" y="132"/>
                </a:cubicBezTo>
                <a:cubicBezTo>
                  <a:pt x="133" y="78"/>
                  <a:pt x="133" y="78"/>
                  <a:pt x="133" y="78"/>
                </a:cubicBezTo>
                <a:cubicBezTo>
                  <a:pt x="133" y="65"/>
                  <a:pt x="139" y="59"/>
                  <a:pt x="150" y="59"/>
                </a:cubicBezTo>
                <a:cubicBezTo>
                  <a:pt x="160" y="59"/>
                  <a:pt x="166" y="65"/>
                  <a:pt x="166" y="78"/>
                </a:cubicBezTo>
                <a:cubicBezTo>
                  <a:pt x="166" y="132"/>
                  <a:pt x="166" y="132"/>
                  <a:pt x="166" y="132"/>
                </a:cubicBezTo>
                <a:cubicBezTo>
                  <a:pt x="193" y="132"/>
                  <a:pt x="193" y="132"/>
                  <a:pt x="193" y="132"/>
                </a:cubicBezTo>
                <a:cubicBezTo>
                  <a:pt x="193" y="78"/>
                  <a:pt x="193" y="78"/>
                  <a:pt x="193" y="78"/>
                </a:cubicBezTo>
                <a:cubicBezTo>
                  <a:pt x="193" y="65"/>
                  <a:pt x="199" y="59"/>
                  <a:pt x="209" y="59"/>
                </a:cubicBezTo>
                <a:cubicBezTo>
                  <a:pt x="220" y="59"/>
                  <a:pt x="225" y="65"/>
                  <a:pt x="225" y="78"/>
                </a:cubicBezTo>
                <a:cubicBezTo>
                  <a:pt x="225" y="132"/>
                  <a:pt x="225" y="132"/>
                  <a:pt x="225" y="132"/>
                </a:cubicBezTo>
                <a:cubicBezTo>
                  <a:pt x="253" y="132"/>
                  <a:pt x="253" y="132"/>
                  <a:pt x="253" y="132"/>
                </a:cubicBezTo>
                <a:cubicBezTo>
                  <a:pt x="253" y="69"/>
                  <a:pt x="253" y="69"/>
                  <a:pt x="253" y="69"/>
                </a:cubicBezTo>
                <a:cubicBezTo>
                  <a:pt x="253" y="46"/>
                  <a:pt x="240" y="34"/>
                  <a:pt x="220" y="34"/>
                </a:cubicBezTo>
                <a:close/>
                <a:moveTo>
                  <a:pt x="59" y="57"/>
                </a:moveTo>
                <a:cubicBezTo>
                  <a:pt x="38" y="51"/>
                  <a:pt x="32" y="49"/>
                  <a:pt x="32" y="40"/>
                </a:cubicBezTo>
                <a:cubicBezTo>
                  <a:pt x="32" y="40"/>
                  <a:pt x="32" y="40"/>
                  <a:pt x="32" y="40"/>
                </a:cubicBezTo>
                <a:cubicBezTo>
                  <a:pt x="32" y="34"/>
                  <a:pt x="38" y="29"/>
                  <a:pt x="48" y="29"/>
                </a:cubicBezTo>
                <a:cubicBezTo>
                  <a:pt x="59" y="29"/>
                  <a:pt x="70" y="34"/>
                  <a:pt x="81" y="41"/>
                </a:cubicBezTo>
                <a:cubicBezTo>
                  <a:pt x="95" y="21"/>
                  <a:pt x="95" y="21"/>
                  <a:pt x="95" y="21"/>
                </a:cubicBezTo>
                <a:cubicBezTo>
                  <a:pt x="83" y="10"/>
                  <a:pt x="67" y="5"/>
                  <a:pt x="49" y="5"/>
                </a:cubicBezTo>
                <a:cubicBezTo>
                  <a:pt x="23" y="5"/>
                  <a:pt x="5" y="20"/>
                  <a:pt x="5" y="43"/>
                </a:cubicBezTo>
                <a:cubicBezTo>
                  <a:pt x="5" y="43"/>
                  <a:pt x="5" y="43"/>
                  <a:pt x="5" y="43"/>
                </a:cubicBezTo>
                <a:cubicBezTo>
                  <a:pt x="5" y="68"/>
                  <a:pt x="21" y="75"/>
                  <a:pt x="46" y="81"/>
                </a:cubicBezTo>
                <a:cubicBezTo>
                  <a:pt x="67" y="87"/>
                  <a:pt x="72" y="90"/>
                  <a:pt x="72" y="97"/>
                </a:cubicBezTo>
                <a:cubicBezTo>
                  <a:pt x="72" y="98"/>
                  <a:pt x="72" y="98"/>
                  <a:pt x="72" y="98"/>
                </a:cubicBezTo>
                <a:cubicBezTo>
                  <a:pt x="72" y="105"/>
                  <a:pt x="65" y="109"/>
                  <a:pt x="54" y="109"/>
                </a:cubicBezTo>
                <a:cubicBezTo>
                  <a:pt x="39" y="109"/>
                  <a:pt x="27" y="104"/>
                  <a:pt x="16" y="94"/>
                </a:cubicBezTo>
                <a:cubicBezTo>
                  <a:pt x="0" y="114"/>
                  <a:pt x="0" y="114"/>
                  <a:pt x="0" y="114"/>
                </a:cubicBezTo>
                <a:cubicBezTo>
                  <a:pt x="15" y="127"/>
                  <a:pt x="34" y="134"/>
                  <a:pt x="53" y="134"/>
                </a:cubicBezTo>
                <a:cubicBezTo>
                  <a:pt x="80" y="134"/>
                  <a:pt x="99" y="120"/>
                  <a:pt x="99" y="95"/>
                </a:cubicBezTo>
                <a:cubicBezTo>
                  <a:pt x="99" y="95"/>
                  <a:pt x="99" y="95"/>
                  <a:pt x="99" y="95"/>
                </a:cubicBezTo>
                <a:cubicBezTo>
                  <a:pt x="99" y="73"/>
                  <a:pt x="85" y="63"/>
                  <a:pt x="59" y="57"/>
                </a:cubicBezTo>
                <a:close/>
                <a:moveTo>
                  <a:pt x="304" y="35"/>
                </a:moveTo>
                <a:cubicBezTo>
                  <a:pt x="287" y="35"/>
                  <a:pt x="277" y="38"/>
                  <a:pt x="266" y="43"/>
                </a:cubicBezTo>
                <a:cubicBezTo>
                  <a:pt x="273" y="63"/>
                  <a:pt x="273" y="63"/>
                  <a:pt x="273" y="63"/>
                </a:cubicBezTo>
                <a:cubicBezTo>
                  <a:pt x="282" y="60"/>
                  <a:pt x="289" y="58"/>
                  <a:pt x="300" y="58"/>
                </a:cubicBezTo>
                <a:cubicBezTo>
                  <a:pt x="313" y="58"/>
                  <a:pt x="320" y="64"/>
                  <a:pt x="320" y="76"/>
                </a:cubicBezTo>
                <a:cubicBezTo>
                  <a:pt x="320" y="77"/>
                  <a:pt x="320" y="77"/>
                  <a:pt x="320" y="77"/>
                </a:cubicBezTo>
                <a:cubicBezTo>
                  <a:pt x="314" y="75"/>
                  <a:pt x="307" y="73"/>
                  <a:pt x="297" y="73"/>
                </a:cubicBezTo>
                <a:cubicBezTo>
                  <a:pt x="274" y="73"/>
                  <a:pt x="258" y="83"/>
                  <a:pt x="258" y="104"/>
                </a:cubicBezTo>
                <a:cubicBezTo>
                  <a:pt x="258" y="104"/>
                  <a:pt x="258" y="104"/>
                  <a:pt x="258" y="104"/>
                </a:cubicBezTo>
                <a:cubicBezTo>
                  <a:pt x="258" y="123"/>
                  <a:pt x="273" y="134"/>
                  <a:pt x="291" y="134"/>
                </a:cubicBezTo>
                <a:cubicBezTo>
                  <a:pt x="304" y="134"/>
                  <a:pt x="314" y="129"/>
                  <a:pt x="320" y="122"/>
                </a:cubicBezTo>
                <a:cubicBezTo>
                  <a:pt x="320" y="132"/>
                  <a:pt x="320" y="132"/>
                  <a:pt x="320" y="132"/>
                </a:cubicBezTo>
                <a:cubicBezTo>
                  <a:pt x="347" y="132"/>
                  <a:pt x="347" y="132"/>
                  <a:pt x="347" y="132"/>
                </a:cubicBezTo>
                <a:cubicBezTo>
                  <a:pt x="347" y="76"/>
                  <a:pt x="347" y="76"/>
                  <a:pt x="347" y="76"/>
                </a:cubicBezTo>
                <a:cubicBezTo>
                  <a:pt x="347" y="63"/>
                  <a:pt x="343" y="53"/>
                  <a:pt x="336" y="46"/>
                </a:cubicBezTo>
                <a:cubicBezTo>
                  <a:pt x="329" y="39"/>
                  <a:pt x="319" y="35"/>
                  <a:pt x="304" y="35"/>
                </a:cubicBezTo>
                <a:close/>
                <a:moveTo>
                  <a:pt x="321" y="98"/>
                </a:moveTo>
                <a:cubicBezTo>
                  <a:pt x="321" y="108"/>
                  <a:pt x="312" y="115"/>
                  <a:pt x="299" y="115"/>
                </a:cubicBezTo>
                <a:cubicBezTo>
                  <a:pt x="291" y="115"/>
                  <a:pt x="285" y="111"/>
                  <a:pt x="285" y="103"/>
                </a:cubicBezTo>
                <a:cubicBezTo>
                  <a:pt x="285" y="103"/>
                  <a:pt x="285" y="103"/>
                  <a:pt x="285" y="103"/>
                </a:cubicBezTo>
                <a:cubicBezTo>
                  <a:pt x="285" y="94"/>
                  <a:pt x="292" y="90"/>
                  <a:pt x="303" y="90"/>
                </a:cubicBezTo>
                <a:cubicBezTo>
                  <a:pt x="310" y="90"/>
                  <a:pt x="316" y="91"/>
                  <a:pt x="321" y="93"/>
                </a:cubicBezTo>
                <a:lnTo>
                  <a:pt x="321" y="98"/>
                </a:lnTo>
                <a:close/>
                <a:moveTo>
                  <a:pt x="457" y="11"/>
                </a:moveTo>
                <a:cubicBezTo>
                  <a:pt x="429" y="11"/>
                  <a:pt x="429" y="11"/>
                  <a:pt x="429" y="11"/>
                </a:cubicBezTo>
                <a:cubicBezTo>
                  <a:pt x="429" y="36"/>
                  <a:pt x="429" y="36"/>
                  <a:pt x="429" y="36"/>
                </a:cubicBezTo>
                <a:cubicBezTo>
                  <a:pt x="418" y="36"/>
                  <a:pt x="418" y="36"/>
                  <a:pt x="418" y="36"/>
                </a:cubicBezTo>
                <a:cubicBezTo>
                  <a:pt x="418" y="59"/>
                  <a:pt x="418" y="59"/>
                  <a:pt x="418" y="59"/>
                </a:cubicBezTo>
                <a:cubicBezTo>
                  <a:pt x="429" y="59"/>
                  <a:pt x="429" y="59"/>
                  <a:pt x="429" y="59"/>
                </a:cubicBezTo>
                <a:cubicBezTo>
                  <a:pt x="429" y="105"/>
                  <a:pt x="429" y="105"/>
                  <a:pt x="429" y="105"/>
                </a:cubicBezTo>
                <a:cubicBezTo>
                  <a:pt x="429" y="127"/>
                  <a:pt x="441" y="134"/>
                  <a:pt x="457" y="134"/>
                </a:cubicBezTo>
                <a:cubicBezTo>
                  <a:pt x="466" y="134"/>
                  <a:pt x="473" y="132"/>
                  <a:pt x="479" y="128"/>
                </a:cubicBezTo>
                <a:cubicBezTo>
                  <a:pt x="479" y="106"/>
                  <a:pt x="479" y="106"/>
                  <a:pt x="479" y="106"/>
                </a:cubicBezTo>
                <a:cubicBezTo>
                  <a:pt x="475" y="108"/>
                  <a:pt x="470" y="110"/>
                  <a:pt x="465" y="110"/>
                </a:cubicBezTo>
                <a:cubicBezTo>
                  <a:pt x="459" y="110"/>
                  <a:pt x="457" y="107"/>
                  <a:pt x="457" y="100"/>
                </a:cubicBezTo>
                <a:cubicBezTo>
                  <a:pt x="457" y="59"/>
                  <a:pt x="457" y="59"/>
                  <a:pt x="457" y="59"/>
                </a:cubicBezTo>
                <a:cubicBezTo>
                  <a:pt x="479" y="59"/>
                  <a:pt x="479" y="59"/>
                  <a:pt x="479" y="59"/>
                </a:cubicBezTo>
                <a:cubicBezTo>
                  <a:pt x="479" y="36"/>
                  <a:pt x="479" y="36"/>
                  <a:pt x="479" y="36"/>
                </a:cubicBezTo>
                <a:cubicBezTo>
                  <a:pt x="457" y="36"/>
                  <a:pt x="457" y="36"/>
                  <a:pt x="457" y="36"/>
                </a:cubicBezTo>
                <a:lnTo>
                  <a:pt x="457" y="11"/>
                </a:lnTo>
                <a:close/>
                <a:moveTo>
                  <a:pt x="382" y="55"/>
                </a:moveTo>
                <a:cubicBezTo>
                  <a:pt x="382" y="36"/>
                  <a:pt x="382" y="36"/>
                  <a:pt x="382" y="36"/>
                </a:cubicBezTo>
                <a:cubicBezTo>
                  <a:pt x="354" y="36"/>
                  <a:pt x="354" y="36"/>
                  <a:pt x="354" y="36"/>
                </a:cubicBezTo>
                <a:cubicBezTo>
                  <a:pt x="354" y="132"/>
                  <a:pt x="354" y="132"/>
                  <a:pt x="354" y="132"/>
                </a:cubicBezTo>
                <a:cubicBezTo>
                  <a:pt x="382" y="132"/>
                  <a:pt x="382" y="132"/>
                  <a:pt x="382" y="132"/>
                </a:cubicBezTo>
                <a:cubicBezTo>
                  <a:pt x="382" y="97"/>
                  <a:pt x="382" y="97"/>
                  <a:pt x="382" y="97"/>
                </a:cubicBezTo>
                <a:cubicBezTo>
                  <a:pt x="382" y="74"/>
                  <a:pt x="393" y="63"/>
                  <a:pt x="411" y="63"/>
                </a:cubicBezTo>
                <a:cubicBezTo>
                  <a:pt x="412" y="63"/>
                  <a:pt x="412" y="63"/>
                  <a:pt x="412" y="63"/>
                </a:cubicBezTo>
                <a:cubicBezTo>
                  <a:pt x="412" y="34"/>
                  <a:pt x="412" y="34"/>
                  <a:pt x="412" y="34"/>
                </a:cubicBezTo>
                <a:cubicBezTo>
                  <a:pt x="396" y="33"/>
                  <a:pt x="387" y="42"/>
                  <a:pt x="382" y="55"/>
                </a:cubicBezTo>
                <a:close/>
                <a:moveTo>
                  <a:pt x="1335" y="34"/>
                </a:moveTo>
                <a:cubicBezTo>
                  <a:pt x="1305" y="34"/>
                  <a:pt x="1283" y="56"/>
                  <a:pt x="1283" y="84"/>
                </a:cubicBezTo>
                <a:cubicBezTo>
                  <a:pt x="1283" y="84"/>
                  <a:pt x="1283" y="84"/>
                  <a:pt x="1283" y="84"/>
                </a:cubicBezTo>
                <a:cubicBezTo>
                  <a:pt x="1283" y="112"/>
                  <a:pt x="1305" y="134"/>
                  <a:pt x="1335" y="134"/>
                </a:cubicBezTo>
                <a:cubicBezTo>
                  <a:pt x="1365" y="134"/>
                  <a:pt x="1387" y="112"/>
                  <a:pt x="1387" y="84"/>
                </a:cubicBezTo>
                <a:cubicBezTo>
                  <a:pt x="1387" y="84"/>
                  <a:pt x="1387" y="84"/>
                  <a:pt x="1387" y="84"/>
                </a:cubicBezTo>
                <a:cubicBezTo>
                  <a:pt x="1387" y="56"/>
                  <a:pt x="1365" y="34"/>
                  <a:pt x="1335" y="34"/>
                </a:cubicBezTo>
                <a:close/>
                <a:moveTo>
                  <a:pt x="1360" y="84"/>
                </a:moveTo>
                <a:cubicBezTo>
                  <a:pt x="1360" y="99"/>
                  <a:pt x="1351" y="111"/>
                  <a:pt x="1335" y="111"/>
                </a:cubicBezTo>
                <a:cubicBezTo>
                  <a:pt x="1320" y="111"/>
                  <a:pt x="1310" y="98"/>
                  <a:pt x="1310" y="84"/>
                </a:cubicBezTo>
                <a:cubicBezTo>
                  <a:pt x="1310" y="84"/>
                  <a:pt x="1310" y="84"/>
                  <a:pt x="1310" y="84"/>
                </a:cubicBezTo>
                <a:cubicBezTo>
                  <a:pt x="1310" y="70"/>
                  <a:pt x="1319" y="58"/>
                  <a:pt x="1335" y="58"/>
                </a:cubicBezTo>
                <a:cubicBezTo>
                  <a:pt x="1350" y="58"/>
                  <a:pt x="1360" y="70"/>
                  <a:pt x="1360" y="84"/>
                </a:cubicBezTo>
                <a:close/>
                <a:moveTo>
                  <a:pt x="1834" y="55"/>
                </a:moveTo>
                <a:cubicBezTo>
                  <a:pt x="1834" y="36"/>
                  <a:pt x="1834" y="36"/>
                  <a:pt x="1834" y="36"/>
                </a:cubicBezTo>
                <a:cubicBezTo>
                  <a:pt x="1807" y="36"/>
                  <a:pt x="1807" y="36"/>
                  <a:pt x="1807" y="36"/>
                </a:cubicBezTo>
                <a:cubicBezTo>
                  <a:pt x="1807" y="132"/>
                  <a:pt x="1807" y="132"/>
                  <a:pt x="1807" y="132"/>
                </a:cubicBezTo>
                <a:cubicBezTo>
                  <a:pt x="1834" y="132"/>
                  <a:pt x="1834" y="132"/>
                  <a:pt x="1834" y="132"/>
                </a:cubicBezTo>
                <a:cubicBezTo>
                  <a:pt x="1834" y="97"/>
                  <a:pt x="1834" y="97"/>
                  <a:pt x="1834" y="97"/>
                </a:cubicBezTo>
                <a:cubicBezTo>
                  <a:pt x="1834" y="74"/>
                  <a:pt x="1845" y="63"/>
                  <a:pt x="1863" y="63"/>
                </a:cubicBezTo>
                <a:cubicBezTo>
                  <a:pt x="1865" y="63"/>
                  <a:pt x="1865" y="63"/>
                  <a:pt x="1865" y="63"/>
                </a:cubicBezTo>
                <a:cubicBezTo>
                  <a:pt x="1865" y="34"/>
                  <a:pt x="1865" y="34"/>
                  <a:pt x="1865" y="34"/>
                </a:cubicBezTo>
                <a:cubicBezTo>
                  <a:pt x="1848" y="33"/>
                  <a:pt x="1839" y="42"/>
                  <a:pt x="1834" y="55"/>
                </a:cubicBezTo>
                <a:close/>
                <a:moveTo>
                  <a:pt x="1748" y="34"/>
                </a:moveTo>
                <a:cubicBezTo>
                  <a:pt x="1718" y="34"/>
                  <a:pt x="1696" y="56"/>
                  <a:pt x="1696" y="84"/>
                </a:cubicBezTo>
                <a:cubicBezTo>
                  <a:pt x="1696" y="84"/>
                  <a:pt x="1696" y="84"/>
                  <a:pt x="1696" y="84"/>
                </a:cubicBezTo>
                <a:cubicBezTo>
                  <a:pt x="1696" y="112"/>
                  <a:pt x="1718" y="134"/>
                  <a:pt x="1748" y="134"/>
                </a:cubicBezTo>
                <a:cubicBezTo>
                  <a:pt x="1778" y="134"/>
                  <a:pt x="1800" y="112"/>
                  <a:pt x="1800" y="84"/>
                </a:cubicBezTo>
                <a:cubicBezTo>
                  <a:pt x="1800" y="84"/>
                  <a:pt x="1800" y="84"/>
                  <a:pt x="1800" y="84"/>
                </a:cubicBezTo>
                <a:cubicBezTo>
                  <a:pt x="1800" y="56"/>
                  <a:pt x="1778" y="34"/>
                  <a:pt x="1748" y="34"/>
                </a:cubicBezTo>
                <a:close/>
                <a:moveTo>
                  <a:pt x="1773" y="84"/>
                </a:moveTo>
                <a:cubicBezTo>
                  <a:pt x="1773" y="99"/>
                  <a:pt x="1764" y="111"/>
                  <a:pt x="1748" y="111"/>
                </a:cubicBezTo>
                <a:cubicBezTo>
                  <a:pt x="1733" y="111"/>
                  <a:pt x="1723" y="98"/>
                  <a:pt x="1723" y="84"/>
                </a:cubicBezTo>
                <a:cubicBezTo>
                  <a:pt x="1723" y="84"/>
                  <a:pt x="1723" y="84"/>
                  <a:pt x="1723" y="84"/>
                </a:cubicBezTo>
                <a:cubicBezTo>
                  <a:pt x="1723" y="70"/>
                  <a:pt x="1732" y="58"/>
                  <a:pt x="1748" y="58"/>
                </a:cubicBezTo>
                <a:cubicBezTo>
                  <a:pt x="1763" y="58"/>
                  <a:pt x="1773" y="70"/>
                  <a:pt x="1773" y="84"/>
                </a:cubicBezTo>
                <a:close/>
                <a:moveTo>
                  <a:pt x="1465" y="48"/>
                </a:moveTo>
                <a:cubicBezTo>
                  <a:pt x="1458" y="40"/>
                  <a:pt x="1449" y="34"/>
                  <a:pt x="1434" y="34"/>
                </a:cubicBezTo>
                <a:cubicBezTo>
                  <a:pt x="1412" y="34"/>
                  <a:pt x="1391" y="50"/>
                  <a:pt x="1391" y="79"/>
                </a:cubicBezTo>
                <a:cubicBezTo>
                  <a:pt x="1391" y="79"/>
                  <a:pt x="1391" y="79"/>
                  <a:pt x="1391" y="79"/>
                </a:cubicBezTo>
                <a:cubicBezTo>
                  <a:pt x="1391" y="108"/>
                  <a:pt x="1412" y="124"/>
                  <a:pt x="1434" y="124"/>
                </a:cubicBezTo>
                <a:cubicBezTo>
                  <a:pt x="1448" y="124"/>
                  <a:pt x="1457" y="118"/>
                  <a:pt x="1465" y="109"/>
                </a:cubicBezTo>
                <a:cubicBezTo>
                  <a:pt x="1465" y="113"/>
                  <a:pt x="1465" y="113"/>
                  <a:pt x="1465" y="113"/>
                </a:cubicBezTo>
                <a:cubicBezTo>
                  <a:pt x="1465" y="130"/>
                  <a:pt x="1457" y="139"/>
                  <a:pt x="1438" y="139"/>
                </a:cubicBezTo>
                <a:cubicBezTo>
                  <a:pt x="1425" y="139"/>
                  <a:pt x="1415" y="136"/>
                  <a:pt x="1405" y="131"/>
                </a:cubicBezTo>
                <a:cubicBezTo>
                  <a:pt x="1396" y="151"/>
                  <a:pt x="1396" y="151"/>
                  <a:pt x="1396" y="151"/>
                </a:cubicBezTo>
                <a:cubicBezTo>
                  <a:pt x="1408" y="158"/>
                  <a:pt x="1423" y="161"/>
                  <a:pt x="1439" y="161"/>
                </a:cubicBezTo>
                <a:cubicBezTo>
                  <a:pt x="1457" y="161"/>
                  <a:pt x="1471" y="157"/>
                  <a:pt x="1480" y="148"/>
                </a:cubicBezTo>
                <a:cubicBezTo>
                  <a:pt x="1488" y="140"/>
                  <a:pt x="1492" y="128"/>
                  <a:pt x="1492" y="110"/>
                </a:cubicBezTo>
                <a:cubicBezTo>
                  <a:pt x="1492" y="36"/>
                  <a:pt x="1492" y="36"/>
                  <a:pt x="1492" y="36"/>
                </a:cubicBezTo>
                <a:cubicBezTo>
                  <a:pt x="1465" y="36"/>
                  <a:pt x="1465" y="36"/>
                  <a:pt x="1465" y="36"/>
                </a:cubicBezTo>
                <a:lnTo>
                  <a:pt x="1465" y="48"/>
                </a:lnTo>
                <a:close/>
                <a:moveTo>
                  <a:pt x="1465" y="79"/>
                </a:moveTo>
                <a:cubicBezTo>
                  <a:pt x="1465" y="92"/>
                  <a:pt x="1455" y="102"/>
                  <a:pt x="1442" y="102"/>
                </a:cubicBezTo>
                <a:cubicBezTo>
                  <a:pt x="1429" y="102"/>
                  <a:pt x="1419" y="93"/>
                  <a:pt x="1419" y="79"/>
                </a:cubicBezTo>
                <a:cubicBezTo>
                  <a:pt x="1419" y="79"/>
                  <a:pt x="1419" y="79"/>
                  <a:pt x="1419" y="79"/>
                </a:cubicBezTo>
                <a:cubicBezTo>
                  <a:pt x="1419" y="66"/>
                  <a:pt x="1429" y="57"/>
                  <a:pt x="1442" y="57"/>
                </a:cubicBezTo>
                <a:cubicBezTo>
                  <a:pt x="1455" y="57"/>
                  <a:pt x="1465" y="66"/>
                  <a:pt x="1465" y="79"/>
                </a:cubicBezTo>
                <a:close/>
                <a:moveTo>
                  <a:pt x="1697" y="37"/>
                </a:moveTo>
                <a:cubicBezTo>
                  <a:pt x="1675" y="37"/>
                  <a:pt x="1675" y="37"/>
                  <a:pt x="1675" y="37"/>
                </a:cubicBezTo>
                <a:cubicBezTo>
                  <a:pt x="1675" y="33"/>
                  <a:pt x="1675" y="33"/>
                  <a:pt x="1675" y="33"/>
                </a:cubicBezTo>
                <a:cubicBezTo>
                  <a:pt x="1675" y="26"/>
                  <a:pt x="1678" y="23"/>
                  <a:pt x="1684" y="23"/>
                </a:cubicBezTo>
                <a:cubicBezTo>
                  <a:pt x="1689" y="23"/>
                  <a:pt x="1693" y="24"/>
                  <a:pt x="1697" y="25"/>
                </a:cubicBezTo>
                <a:cubicBezTo>
                  <a:pt x="1697" y="2"/>
                  <a:pt x="1697" y="2"/>
                  <a:pt x="1697" y="2"/>
                </a:cubicBezTo>
                <a:cubicBezTo>
                  <a:pt x="1692" y="1"/>
                  <a:pt x="1686" y="0"/>
                  <a:pt x="1677" y="0"/>
                </a:cubicBezTo>
                <a:cubicBezTo>
                  <a:pt x="1668" y="0"/>
                  <a:pt x="1660" y="2"/>
                  <a:pt x="1655" y="7"/>
                </a:cubicBezTo>
                <a:cubicBezTo>
                  <a:pt x="1650" y="12"/>
                  <a:pt x="1648" y="20"/>
                  <a:pt x="1648" y="31"/>
                </a:cubicBezTo>
                <a:cubicBezTo>
                  <a:pt x="1648" y="37"/>
                  <a:pt x="1648" y="37"/>
                  <a:pt x="1648" y="37"/>
                </a:cubicBezTo>
                <a:cubicBezTo>
                  <a:pt x="1636" y="37"/>
                  <a:pt x="1636" y="37"/>
                  <a:pt x="1636" y="37"/>
                </a:cubicBezTo>
                <a:cubicBezTo>
                  <a:pt x="1636" y="59"/>
                  <a:pt x="1636" y="59"/>
                  <a:pt x="1636" y="59"/>
                </a:cubicBezTo>
                <a:cubicBezTo>
                  <a:pt x="1648" y="59"/>
                  <a:pt x="1648" y="59"/>
                  <a:pt x="1648" y="59"/>
                </a:cubicBezTo>
                <a:cubicBezTo>
                  <a:pt x="1648" y="132"/>
                  <a:pt x="1648" y="132"/>
                  <a:pt x="1648" y="132"/>
                </a:cubicBezTo>
                <a:cubicBezTo>
                  <a:pt x="1675" y="132"/>
                  <a:pt x="1675" y="132"/>
                  <a:pt x="1675" y="132"/>
                </a:cubicBezTo>
                <a:cubicBezTo>
                  <a:pt x="1675" y="59"/>
                  <a:pt x="1675" y="59"/>
                  <a:pt x="1675" y="59"/>
                </a:cubicBezTo>
                <a:cubicBezTo>
                  <a:pt x="1697" y="59"/>
                  <a:pt x="1697" y="59"/>
                  <a:pt x="1697" y="59"/>
                </a:cubicBezTo>
                <a:lnTo>
                  <a:pt x="1697" y="37"/>
                </a:lnTo>
                <a:close/>
                <a:moveTo>
                  <a:pt x="1548" y="101"/>
                </a:moveTo>
                <a:cubicBezTo>
                  <a:pt x="1526" y="36"/>
                  <a:pt x="1526" y="36"/>
                  <a:pt x="1526" y="36"/>
                </a:cubicBezTo>
                <a:cubicBezTo>
                  <a:pt x="1497" y="36"/>
                  <a:pt x="1497" y="36"/>
                  <a:pt x="1497" y="36"/>
                </a:cubicBezTo>
                <a:cubicBezTo>
                  <a:pt x="1535" y="132"/>
                  <a:pt x="1535" y="132"/>
                  <a:pt x="1535" y="132"/>
                </a:cubicBezTo>
                <a:cubicBezTo>
                  <a:pt x="1532" y="137"/>
                  <a:pt x="1530" y="139"/>
                  <a:pt x="1525" y="139"/>
                </a:cubicBezTo>
                <a:cubicBezTo>
                  <a:pt x="1521" y="139"/>
                  <a:pt x="1517" y="137"/>
                  <a:pt x="1513" y="135"/>
                </a:cubicBezTo>
                <a:cubicBezTo>
                  <a:pt x="1504" y="155"/>
                  <a:pt x="1504" y="155"/>
                  <a:pt x="1504" y="155"/>
                </a:cubicBezTo>
                <a:cubicBezTo>
                  <a:pt x="1511" y="159"/>
                  <a:pt x="1519" y="161"/>
                  <a:pt x="1528" y="161"/>
                </a:cubicBezTo>
                <a:cubicBezTo>
                  <a:pt x="1545" y="161"/>
                  <a:pt x="1553" y="154"/>
                  <a:pt x="1560" y="134"/>
                </a:cubicBezTo>
                <a:cubicBezTo>
                  <a:pt x="1597" y="36"/>
                  <a:pt x="1597" y="36"/>
                  <a:pt x="1597" y="36"/>
                </a:cubicBezTo>
                <a:cubicBezTo>
                  <a:pt x="1569" y="36"/>
                  <a:pt x="1569" y="36"/>
                  <a:pt x="1569" y="36"/>
                </a:cubicBezTo>
                <a:lnTo>
                  <a:pt x="1548" y="101"/>
                </a:lnTo>
                <a:close/>
                <a:moveTo>
                  <a:pt x="1008" y="34"/>
                </a:moveTo>
                <a:cubicBezTo>
                  <a:pt x="994" y="34"/>
                  <a:pt x="986" y="41"/>
                  <a:pt x="980" y="49"/>
                </a:cubicBezTo>
                <a:cubicBezTo>
                  <a:pt x="980" y="1"/>
                  <a:pt x="980" y="1"/>
                  <a:pt x="980" y="1"/>
                </a:cubicBezTo>
                <a:cubicBezTo>
                  <a:pt x="952" y="1"/>
                  <a:pt x="952" y="1"/>
                  <a:pt x="952" y="1"/>
                </a:cubicBezTo>
                <a:cubicBezTo>
                  <a:pt x="952" y="132"/>
                  <a:pt x="952" y="132"/>
                  <a:pt x="952" y="132"/>
                </a:cubicBezTo>
                <a:cubicBezTo>
                  <a:pt x="980" y="132"/>
                  <a:pt x="980" y="132"/>
                  <a:pt x="980" y="132"/>
                </a:cubicBezTo>
                <a:cubicBezTo>
                  <a:pt x="980" y="78"/>
                  <a:pt x="980" y="78"/>
                  <a:pt x="980" y="78"/>
                </a:cubicBezTo>
                <a:cubicBezTo>
                  <a:pt x="980" y="65"/>
                  <a:pt x="986" y="59"/>
                  <a:pt x="997" y="59"/>
                </a:cubicBezTo>
                <a:cubicBezTo>
                  <a:pt x="1007" y="59"/>
                  <a:pt x="1013" y="65"/>
                  <a:pt x="1013" y="78"/>
                </a:cubicBezTo>
                <a:cubicBezTo>
                  <a:pt x="1013" y="132"/>
                  <a:pt x="1013" y="132"/>
                  <a:pt x="1013" y="132"/>
                </a:cubicBezTo>
                <a:cubicBezTo>
                  <a:pt x="1040" y="132"/>
                  <a:pt x="1040" y="132"/>
                  <a:pt x="1040" y="132"/>
                </a:cubicBezTo>
                <a:cubicBezTo>
                  <a:pt x="1040" y="70"/>
                  <a:pt x="1040" y="70"/>
                  <a:pt x="1040" y="70"/>
                </a:cubicBezTo>
                <a:cubicBezTo>
                  <a:pt x="1040" y="48"/>
                  <a:pt x="1028" y="34"/>
                  <a:pt x="1008" y="34"/>
                </a:cubicBezTo>
                <a:close/>
                <a:moveTo>
                  <a:pt x="1250" y="132"/>
                </a:moveTo>
                <a:cubicBezTo>
                  <a:pt x="1278" y="132"/>
                  <a:pt x="1278" y="132"/>
                  <a:pt x="1278" y="132"/>
                </a:cubicBezTo>
                <a:cubicBezTo>
                  <a:pt x="1278" y="1"/>
                  <a:pt x="1278" y="1"/>
                  <a:pt x="1278" y="1"/>
                </a:cubicBezTo>
                <a:cubicBezTo>
                  <a:pt x="1250" y="1"/>
                  <a:pt x="1250" y="1"/>
                  <a:pt x="1250" y="1"/>
                </a:cubicBezTo>
                <a:lnTo>
                  <a:pt x="1250" y="132"/>
                </a:lnTo>
                <a:close/>
                <a:moveTo>
                  <a:pt x="1103" y="34"/>
                </a:moveTo>
                <a:cubicBezTo>
                  <a:pt x="1089" y="34"/>
                  <a:pt x="1081" y="41"/>
                  <a:pt x="1075" y="49"/>
                </a:cubicBezTo>
                <a:cubicBezTo>
                  <a:pt x="1075" y="36"/>
                  <a:pt x="1075" y="36"/>
                  <a:pt x="1075" y="36"/>
                </a:cubicBezTo>
                <a:cubicBezTo>
                  <a:pt x="1047" y="36"/>
                  <a:pt x="1047" y="36"/>
                  <a:pt x="1047" y="36"/>
                </a:cubicBezTo>
                <a:cubicBezTo>
                  <a:pt x="1047" y="132"/>
                  <a:pt x="1047" y="132"/>
                  <a:pt x="1047" y="132"/>
                </a:cubicBezTo>
                <a:cubicBezTo>
                  <a:pt x="1075" y="132"/>
                  <a:pt x="1075" y="132"/>
                  <a:pt x="1075" y="132"/>
                </a:cubicBezTo>
                <a:cubicBezTo>
                  <a:pt x="1075" y="78"/>
                  <a:pt x="1075" y="78"/>
                  <a:pt x="1075" y="78"/>
                </a:cubicBezTo>
                <a:cubicBezTo>
                  <a:pt x="1075" y="65"/>
                  <a:pt x="1081" y="59"/>
                  <a:pt x="1092" y="59"/>
                </a:cubicBezTo>
                <a:cubicBezTo>
                  <a:pt x="1102" y="59"/>
                  <a:pt x="1108" y="65"/>
                  <a:pt x="1108" y="78"/>
                </a:cubicBezTo>
                <a:cubicBezTo>
                  <a:pt x="1108" y="132"/>
                  <a:pt x="1108" y="132"/>
                  <a:pt x="1108" y="132"/>
                </a:cubicBezTo>
                <a:cubicBezTo>
                  <a:pt x="1135" y="132"/>
                  <a:pt x="1135" y="132"/>
                  <a:pt x="1135" y="132"/>
                </a:cubicBezTo>
                <a:cubicBezTo>
                  <a:pt x="1135" y="70"/>
                  <a:pt x="1135" y="70"/>
                  <a:pt x="1135" y="70"/>
                </a:cubicBezTo>
                <a:cubicBezTo>
                  <a:pt x="1135" y="48"/>
                  <a:pt x="1123" y="34"/>
                  <a:pt x="1103" y="34"/>
                </a:cubicBezTo>
                <a:close/>
                <a:moveTo>
                  <a:pt x="910" y="111"/>
                </a:moveTo>
                <a:cubicBezTo>
                  <a:pt x="895" y="111"/>
                  <a:pt x="885" y="99"/>
                  <a:pt x="885" y="84"/>
                </a:cubicBezTo>
                <a:cubicBezTo>
                  <a:pt x="885" y="84"/>
                  <a:pt x="885" y="84"/>
                  <a:pt x="885" y="84"/>
                </a:cubicBezTo>
                <a:cubicBezTo>
                  <a:pt x="885" y="70"/>
                  <a:pt x="895" y="58"/>
                  <a:pt x="909" y="58"/>
                </a:cubicBezTo>
                <a:cubicBezTo>
                  <a:pt x="918" y="58"/>
                  <a:pt x="925" y="62"/>
                  <a:pt x="931" y="68"/>
                </a:cubicBezTo>
                <a:cubicBezTo>
                  <a:pt x="947" y="50"/>
                  <a:pt x="947" y="50"/>
                  <a:pt x="947" y="50"/>
                </a:cubicBezTo>
                <a:cubicBezTo>
                  <a:pt x="938" y="40"/>
                  <a:pt x="927" y="34"/>
                  <a:pt x="909" y="34"/>
                </a:cubicBezTo>
                <a:cubicBezTo>
                  <a:pt x="880" y="34"/>
                  <a:pt x="859" y="57"/>
                  <a:pt x="859" y="84"/>
                </a:cubicBezTo>
                <a:cubicBezTo>
                  <a:pt x="859" y="84"/>
                  <a:pt x="859" y="84"/>
                  <a:pt x="859" y="84"/>
                </a:cubicBezTo>
                <a:cubicBezTo>
                  <a:pt x="859" y="112"/>
                  <a:pt x="880" y="134"/>
                  <a:pt x="909" y="134"/>
                </a:cubicBezTo>
                <a:cubicBezTo>
                  <a:pt x="928" y="134"/>
                  <a:pt x="939" y="127"/>
                  <a:pt x="948" y="117"/>
                </a:cubicBezTo>
                <a:cubicBezTo>
                  <a:pt x="932" y="100"/>
                  <a:pt x="932" y="100"/>
                  <a:pt x="932" y="100"/>
                </a:cubicBezTo>
                <a:cubicBezTo>
                  <a:pt x="925" y="107"/>
                  <a:pt x="919" y="111"/>
                  <a:pt x="910" y="111"/>
                </a:cubicBezTo>
                <a:close/>
                <a:moveTo>
                  <a:pt x="1945" y="35"/>
                </a:moveTo>
                <a:cubicBezTo>
                  <a:pt x="1929" y="35"/>
                  <a:pt x="1918" y="38"/>
                  <a:pt x="1908" y="42"/>
                </a:cubicBezTo>
                <a:cubicBezTo>
                  <a:pt x="1915" y="63"/>
                  <a:pt x="1915" y="63"/>
                  <a:pt x="1915" y="63"/>
                </a:cubicBezTo>
                <a:cubicBezTo>
                  <a:pt x="1923" y="60"/>
                  <a:pt x="1931" y="58"/>
                  <a:pt x="1941" y="58"/>
                </a:cubicBezTo>
                <a:cubicBezTo>
                  <a:pt x="1955" y="58"/>
                  <a:pt x="1962" y="64"/>
                  <a:pt x="1962" y="76"/>
                </a:cubicBezTo>
                <a:cubicBezTo>
                  <a:pt x="1962" y="77"/>
                  <a:pt x="1962" y="77"/>
                  <a:pt x="1962" y="77"/>
                </a:cubicBezTo>
                <a:cubicBezTo>
                  <a:pt x="1955" y="75"/>
                  <a:pt x="1948" y="73"/>
                  <a:pt x="1938" y="73"/>
                </a:cubicBezTo>
                <a:cubicBezTo>
                  <a:pt x="1915" y="73"/>
                  <a:pt x="1899" y="83"/>
                  <a:pt x="1899" y="104"/>
                </a:cubicBezTo>
                <a:cubicBezTo>
                  <a:pt x="1899" y="104"/>
                  <a:pt x="1899" y="104"/>
                  <a:pt x="1899" y="104"/>
                </a:cubicBezTo>
                <a:cubicBezTo>
                  <a:pt x="1899" y="123"/>
                  <a:pt x="1914" y="134"/>
                  <a:pt x="1932" y="134"/>
                </a:cubicBezTo>
                <a:cubicBezTo>
                  <a:pt x="1946" y="134"/>
                  <a:pt x="1955" y="129"/>
                  <a:pt x="1962" y="122"/>
                </a:cubicBezTo>
                <a:cubicBezTo>
                  <a:pt x="1962" y="132"/>
                  <a:pt x="1962" y="132"/>
                  <a:pt x="1962" y="132"/>
                </a:cubicBezTo>
                <a:cubicBezTo>
                  <a:pt x="1988" y="132"/>
                  <a:pt x="1988" y="132"/>
                  <a:pt x="1988" y="132"/>
                </a:cubicBezTo>
                <a:cubicBezTo>
                  <a:pt x="1988" y="76"/>
                  <a:pt x="1988" y="76"/>
                  <a:pt x="1988" y="76"/>
                </a:cubicBezTo>
                <a:cubicBezTo>
                  <a:pt x="1988" y="63"/>
                  <a:pt x="1985" y="53"/>
                  <a:pt x="1978" y="46"/>
                </a:cubicBezTo>
                <a:cubicBezTo>
                  <a:pt x="1971" y="39"/>
                  <a:pt x="1960" y="35"/>
                  <a:pt x="1945" y="35"/>
                </a:cubicBezTo>
                <a:close/>
                <a:moveTo>
                  <a:pt x="1962" y="98"/>
                </a:moveTo>
                <a:cubicBezTo>
                  <a:pt x="1962" y="108"/>
                  <a:pt x="1953" y="115"/>
                  <a:pt x="1941" y="115"/>
                </a:cubicBezTo>
                <a:cubicBezTo>
                  <a:pt x="1932" y="115"/>
                  <a:pt x="1926" y="111"/>
                  <a:pt x="1926" y="103"/>
                </a:cubicBezTo>
                <a:cubicBezTo>
                  <a:pt x="1926" y="103"/>
                  <a:pt x="1926" y="103"/>
                  <a:pt x="1926" y="103"/>
                </a:cubicBezTo>
                <a:cubicBezTo>
                  <a:pt x="1926" y="94"/>
                  <a:pt x="1933" y="90"/>
                  <a:pt x="1945" y="90"/>
                </a:cubicBezTo>
                <a:cubicBezTo>
                  <a:pt x="1951" y="90"/>
                  <a:pt x="1957" y="91"/>
                  <a:pt x="1962" y="93"/>
                </a:cubicBezTo>
                <a:lnTo>
                  <a:pt x="1962" y="98"/>
                </a:lnTo>
                <a:close/>
                <a:moveTo>
                  <a:pt x="1193" y="34"/>
                </a:moveTo>
                <a:cubicBezTo>
                  <a:pt x="1163" y="34"/>
                  <a:pt x="1141" y="56"/>
                  <a:pt x="1141" y="84"/>
                </a:cubicBezTo>
                <a:cubicBezTo>
                  <a:pt x="1141" y="84"/>
                  <a:pt x="1141" y="84"/>
                  <a:pt x="1141" y="84"/>
                </a:cubicBezTo>
                <a:cubicBezTo>
                  <a:pt x="1141" y="112"/>
                  <a:pt x="1163" y="134"/>
                  <a:pt x="1193" y="134"/>
                </a:cubicBezTo>
                <a:cubicBezTo>
                  <a:pt x="1223" y="134"/>
                  <a:pt x="1245" y="112"/>
                  <a:pt x="1245" y="84"/>
                </a:cubicBezTo>
                <a:cubicBezTo>
                  <a:pt x="1245" y="84"/>
                  <a:pt x="1245" y="84"/>
                  <a:pt x="1245" y="84"/>
                </a:cubicBezTo>
                <a:cubicBezTo>
                  <a:pt x="1245" y="56"/>
                  <a:pt x="1223" y="34"/>
                  <a:pt x="1193" y="34"/>
                </a:cubicBezTo>
                <a:close/>
                <a:moveTo>
                  <a:pt x="1218" y="84"/>
                </a:moveTo>
                <a:cubicBezTo>
                  <a:pt x="1218" y="99"/>
                  <a:pt x="1209" y="111"/>
                  <a:pt x="1193" y="111"/>
                </a:cubicBezTo>
                <a:cubicBezTo>
                  <a:pt x="1178" y="111"/>
                  <a:pt x="1168" y="98"/>
                  <a:pt x="1168" y="84"/>
                </a:cubicBezTo>
                <a:cubicBezTo>
                  <a:pt x="1168" y="84"/>
                  <a:pt x="1168" y="84"/>
                  <a:pt x="1168" y="84"/>
                </a:cubicBezTo>
                <a:cubicBezTo>
                  <a:pt x="1168" y="70"/>
                  <a:pt x="1177" y="58"/>
                  <a:pt x="1193" y="58"/>
                </a:cubicBezTo>
                <a:cubicBezTo>
                  <a:pt x="1208" y="58"/>
                  <a:pt x="1218" y="70"/>
                  <a:pt x="1218" y="84"/>
                </a:cubicBezTo>
                <a:close/>
              </a:path>
            </a:pathLst>
          </a:custGeom>
          <a:gradFill>
            <a:gsLst>
              <a:gs pos="100000">
                <a:srgbClr val="F15F22"/>
              </a:gs>
              <a:gs pos="54000">
                <a:srgbClr val="F06422"/>
              </a:gs>
              <a:gs pos="76000">
                <a:srgbClr val="E32526"/>
              </a:gs>
              <a:gs pos="0">
                <a:srgbClr val="E32F2A"/>
              </a:gs>
              <a:gs pos="26000">
                <a:srgbClr val="A32022"/>
              </a:gs>
            </a:gsLst>
            <a:lin ang="2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933"/>
          </a:p>
        </p:txBody>
      </p:sp>
    </p:spTree>
    <p:extLst>
      <p:ext uri="{BB962C8B-B14F-4D97-AF65-F5344CB8AC3E}">
        <p14:creationId xmlns:p14="http://schemas.microsoft.com/office/powerpoint/2010/main" val="3521039312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>
            <a:extLst>
              <a:ext uri="{FF2B5EF4-FFF2-40B4-BE49-F238E27FC236}">
                <a16:creationId xmlns:a16="http://schemas.microsoft.com/office/drawing/2014/main" id="{D7C56BA8-590A-4028-A3BD-EBB4F41E7443}"/>
              </a:ext>
            </a:extLst>
          </p:cNvPr>
          <p:cNvGrpSpPr>
            <a:grpSpLocks noChangeAspect="1"/>
          </p:cNvGrpSpPr>
          <p:nvPr userDrawn="1"/>
        </p:nvGrpSpPr>
        <p:grpSpPr>
          <a:xfrm rot="16200000">
            <a:off x="-1249978" y="18585557"/>
            <a:ext cx="25716182" cy="1167779"/>
            <a:chOff x="547688" y="952500"/>
            <a:chExt cx="12190413" cy="4067175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9186E01-E5DD-4CF8-B980-31578D78DA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gradFill flip="none" rotWithShape="1">
              <a:gsLst>
                <a:gs pos="0">
                  <a:srgbClr val="F2A11F"/>
                </a:gs>
                <a:gs pos="37000">
                  <a:srgbClr val="EC5124"/>
                </a:gs>
                <a:gs pos="79000">
                  <a:srgbClr val="D32A27"/>
                </a:gs>
                <a:gs pos="100000">
                  <a:srgbClr val="7A425E"/>
                </a:gs>
              </a:gsLst>
              <a:lin ang="2400000" scaled="0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4297898A-7690-4887-A538-06925E3249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EBE1A931-8ED4-4023-B1E7-E7C0FCB53C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3DFA30DE-FC15-4449-9A0C-173C6898FE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id="{2C43BCA4-E25C-47F7-A5A5-C71BAFE37A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6476CD2B-51BA-4E82-9674-026AAE497F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F65A61BF-2424-45EF-AEBD-67F3A1E98F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</p:grp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782" y="11089247"/>
            <a:ext cx="9960410" cy="1767601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987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lang="en-US" sz="60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548783" y="29074606"/>
            <a:ext cx="9960410" cy="33954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500" spc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5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5" name="TextBox 74"/>
          <p:cNvSpPr txBox="1"/>
          <p:nvPr userDrawn="1"/>
        </p:nvSpPr>
        <p:spPr>
          <a:xfrm>
            <a:off x="548783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9774934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>
            <a:extLst>
              <a:ext uri="{FF2B5EF4-FFF2-40B4-BE49-F238E27FC236}">
                <a16:creationId xmlns:a16="http://schemas.microsoft.com/office/drawing/2014/main" id="{D7C56BA8-590A-4028-A3BD-EBB4F41E7443}"/>
              </a:ext>
            </a:extLst>
          </p:cNvPr>
          <p:cNvGrpSpPr>
            <a:grpSpLocks noChangeAspect="1"/>
          </p:cNvGrpSpPr>
          <p:nvPr userDrawn="1"/>
        </p:nvGrpSpPr>
        <p:grpSpPr>
          <a:xfrm rot="16200000">
            <a:off x="-1249978" y="18585557"/>
            <a:ext cx="25716182" cy="1167779"/>
            <a:chOff x="547688" y="952500"/>
            <a:chExt cx="12190413" cy="4067175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9186E01-E5DD-4CF8-B980-31578D78DA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gradFill flip="none" rotWithShape="1">
              <a:gsLst>
                <a:gs pos="0">
                  <a:srgbClr val="F2A11F"/>
                </a:gs>
                <a:gs pos="37000">
                  <a:srgbClr val="EC5124"/>
                </a:gs>
                <a:gs pos="79000">
                  <a:srgbClr val="D32A27"/>
                </a:gs>
                <a:gs pos="100000">
                  <a:srgbClr val="7A425E"/>
                </a:gs>
              </a:gsLst>
              <a:lin ang="2400000" scaled="0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4297898A-7690-4887-A538-06925E3249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EBE1A931-8ED4-4023-B1E7-E7C0FCB53C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3DFA30DE-FC15-4449-9A0C-173C6898FE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id="{2C43BCA4-E25C-47F7-A5A5-C71BAFE37A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6476CD2B-51BA-4E82-9674-026AAE497F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F65A61BF-2424-45EF-AEBD-67F3A1E98F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</p:grp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782" y="11089247"/>
            <a:ext cx="9960410" cy="1767601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987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lang="en-US" sz="60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548783" y="29074606"/>
            <a:ext cx="9960410" cy="33954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500" spc="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here</a:t>
            </a:r>
          </a:p>
        </p:txBody>
      </p:sp>
      <p:sp>
        <p:nvSpPr>
          <p:cNvPr id="5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5" name="TextBox 74"/>
          <p:cNvSpPr txBox="1"/>
          <p:nvPr userDrawn="1"/>
        </p:nvSpPr>
        <p:spPr>
          <a:xfrm>
            <a:off x="548783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7017847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304929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7" name="Rectangle 6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2892797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agenda" preserve="1" userDrawn="1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95EB3-2B30-4312-9FEC-6AF618B1A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929382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95EB3-2B30-4312-9FEC-6AF618B1A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Google Shape;27;p6"/>
          <p:cNvSpPr txBox="1">
            <a:spLocks noGrp="1"/>
          </p:cNvSpPr>
          <p:nvPr>
            <p:ph type="title"/>
          </p:nvPr>
        </p:nvSpPr>
        <p:spPr>
          <a:xfrm>
            <a:off x="698533" y="21494572"/>
            <a:ext cx="4397200" cy="74108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 dirty="0"/>
          </a:p>
        </p:txBody>
      </p:sp>
      <p:sp>
        <p:nvSpPr>
          <p:cNvPr id="29" name="Google Shape;29;p6"/>
          <p:cNvSpPr txBox="1">
            <a:spLocks noGrp="1"/>
          </p:cNvSpPr>
          <p:nvPr>
            <p:ph type="title" idx="3"/>
          </p:nvPr>
        </p:nvSpPr>
        <p:spPr>
          <a:xfrm>
            <a:off x="6287600" y="12533354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title" idx="4"/>
          </p:nvPr>
        </p:nvSpPr>
        <p:spPr>
          <a:xfrm>
            <a:off x="6287600" y="24144008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 idx="5"/>
          </p:nvPr>
        </p:nvSpPr>
        <p:spPr>
          <a:xfrm>
            <a:off x="6287600" y="35754664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title" idx="8"/>
          </p:nvPr>
        </p:nvSpPr>
        <p:spPr>
          <a:xfrm>
            <a:off x="6287600" y="18338678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title" idx="9"/>
          </p:nvPr>
        </p:nvSpPr>
        <p:spPr>
          <a:xfrm>
            <a:off x="6287600" y="29949336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1394C7D-ECF2-4A9A-85D3-7F216E60AE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24E14E7-D459-4D7D-8045-CCAF5FF4E2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9821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57930" y="6585596"/>
            <a:ext cx="11076268" cy="21503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2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811"/>
            <a:ext cx="11076268" cy="262207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939300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57930" y="6585596"/>
            <a:ext cx="11076268" cy="21503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808"/>
            <a:ext cx="11076268" cy="2939048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7905915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66264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9619056"/>
            <a:ext cx="11076268" cy="3605989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075717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9609598"/>
            <a:ext cx="11076268" cy="36154416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8" name="Rectangle 7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6747981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1580435"/>
            <a:ext cx="11076268" cy="341835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930" y="6607642"/>
            <a:ext cx="11076268" cy="21503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2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811"/>
            <a:ext cx="11076268" cy="2715122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94763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Conten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1558393"/>
            <a:ext cx="11076268" cy="34205626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57930" y="6585596"/>
            <a:ext cx="11076268" cy="21503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8"/>
            <a:ext cx="11076268" cy="2885364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0554889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7" y="9609602"/>
            <a:ext cx="5380359" cy="3615442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4696" y="9609602"/>
            <a:ext cx="5380359" cy="3615442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55403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7" y="9609602"/>
            <a:ext cx="5380359" cy="3615442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4696" y="9609602"/>
            <a:ext cx="5380359" cy="3615442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4017410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7" y="9609598"/>
            <a:ext cx="3475625" cy="36154416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0"/>
          </p:nvPr>
        </p:nvSpPr>
        <p:spPr bwMode="gray">
          <a:xfrm>
            <a:off x="4349109" y="9609598"/>
            <a:ext cx="3475625" cy="36154416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1"/>
          </p:nvPr>
        </p:nvSpPr>
        <p:spPr bwMode="gray">
          <a:xfrm>
            <a:off x="8149430" y="9609598"/>
            <a:ext cx="3475625" cy="36154416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894883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7" y="9609598"/>
            <a:ext cx="3475625" cy="36154416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0"/>
          </p:nvPr>
        </p:nvSpPr>
        <p:spPr bwMode="gray">
          <a:xfrm>
            <a:off x="4349109" y="9609598"/>
            <a:ext cx="3475625" cy="36154416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1"/>
          </p:nvPr>
        </p:nvSpPr>
        <p:spPr bwMode="gray">
          <a:xfrm>
            <a:off x="8149430" y="9609598"/>
            <a:ext cx="3475625" cy="36154416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13" name="Rectangle 12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913551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opening sub-session 01" preserve="1">
  <p:cSld name="Sec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EF4B77-D8D1-4A91-802F-139A3F7C0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322035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EF4B77-D8D1-4A91-802F-139A3F7C0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Google Shape;39;p7"/>
          <p:cNvPicPr preferRelativeResize="0"/>
          <p:nvPr/>
        </p:nvPicPr>
        <p:blipFill rotWithShape="1">
          <a:blip r:embed="rId6">
            <a:alphaModFix amt="15000"/>
          </a:blip>
          <a:srcRect t="8915" r="21399" b="26787"/>
          <a:stretch/>
        </p:blipFill>
        <p:spPr>
          <a:xfrm>
            <a:off x="4840834" y="3"/>
            <a:ext cx="7351166" cy="5039995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7"/>
          <p:cNvSpPr txBox="1">
            <a:spLocks noGrp="1"/>
          </p:cNvSpPr>
          <p:nvPr>
            <p:ph type="title"/>
          </p:nvPr>
        </p:nvSpPr>
        <p:spPr>
          <a:xfrm>
            <a:off x="745900" y="22672167"/>
            <a:ext cx="6602400" cy="8735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4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41" name="Google Shape;41;p7"/>
          <p:cNvSpPr txBox="1">
            <a:spLocks noGrp="1"/>
          </p:cNvSpPr>
          <p:nvPr>
            <p:ph type="title" idx="2"/>
          </p:nvPr>
        </p:nvSpPr>
        <p:spPr>
          <a:xfrm>
            <a:off x="745900" y="31896694"/>
            <a:ext cx="6602400" cy="70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6" name="Google Shape;10;p2">
            <a:extLst>
              <a:ext uri="{FF2B5EF4-FFF2-40B4-BE49-F238E27FC236}">
                <a16:creationId xmlns:a16="http://schemas.microsoft.com/office/drawing/2014/main" id="{15A027C8-6BEA-4967-91EA-CCD151D3B370}"/>
              </a:ext>
            </a:extLst>
          </p:cNvPr>
          <p:cNvSpPr/>
          <p:nvPr userDrawn="1"/>
        </p:nvSpPr>
        <p:spPr>
          <a:xfrm>
            <a:off x="-1" y="3"/>
            <a:ext cx="884903" cy="6784858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DCEAAC1-D522-426D-B9A3-B26F5DB2B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0932E54-7368-44D7-BD19-F41EFCCF9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oogle Shape;17;p3">
            <a:extLst>
              <a:ext uri="{FF2B5EF4-FFF2-40B4-BE49-F238E27FC236}">
                <a16:creationId xmlns:a16="http://schemas.microsoft.com/office/drawing/2014/main" id="{29747C31-6068-4D65-B180-B8288E4AFFA3}"/>
              </a:ext>
            </a:extLst>
          </p:cNvPr>
          <p:cNvSpPr/>
          <p:nvPr userDrawn="1"/>
        </p:nvSpPr>
        <p:spPr>
          <a:xfrm rot="5400000">
            <a:off x="1460096" y="30829464"/>
            <a:ext cx="217532" cy="1645920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5390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6038290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9609602"/>
            <a:ext cx="6038290" cy="3615442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6" y="3"/>
            <a:ext cx="5354934" cy="503999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655790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Imag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6038290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9609602"/>
            <a:ext cx="6038290" cy="3615442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7066" y="3"/>
            <a:ext cx="5354934" cy="503999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21" name="Rectangle 20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4" name="Freeform 23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0382629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" y="3"/>
            <a:ext cx="4062849" cy="50399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2853" y="3"/>
            <a:ext cx="8129151" cy="503999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783" y="6243308"/>
            <a:ext cx="3514066" cy="14160160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Font typeface="Arial" panose="020B0604020202020204" pitchFamily="34" charset="0"/>
              <a:buNone/>
              <a:defRPr sz="4600" b="1" strike="noStrike" spc="-150" baseline="0">
                <a:solidFill>
                  <a:schemeClr val="tx1"/>
                </a:solidFill>
              </a:defRPr>
            </a:lvl1pPr>
            <a:lvl2pPr marL="341313" indent="0">
              <a:buNone/>
              <a:defRPr/>
            </a:lvl2pPr>
            <a:lvl3pPr marL="679450" indent="0">
              <a:buNone/>
              <a:defRPr/>
            </a:lvl3pPr>
            <a:lvl4pPr marL="966787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Photo plus</a:t>
            </a:r>
            <a:br>
              <a:rPr lang="en-US" dirty="0"/>
            </a:br>
            <a:r>
              <a:rPr lang="en-US" dirty="0"/>
              <a:t>statement</a:t>
            </a:r>
            <a:br>
              <a:rPr lang="en-US" dirty="0"/>
            </a:br>
            <a:r>
              <a:rPr lang="en-US" dirty="0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788" y="21633029"/>
            <a:ext cx="3514065" cy="120643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589902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" y="3"/>
            <a:ext cx="4062849" cy="50399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2853" y="3"/>
            <a:ext cx="8129151" cy="503999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783" y="6243308"/>
            <a:ext cx="3514066" cy="14160160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Font typeface="Arial" panose="020B0604020202020204" pitchFamily="34" charset="0"/>
              <a:buNone/>
              <a:defRPr sz="4600" b="1" strike="noStrike" spc="-150" baseline="0">
                <a:solidFill>
                  <a:schemeClr val="bg1"/>
                </a:solidFill>
              </a:defRPr>
            </a:lvl1pPr>
            <a:lvl2pPr marL="341313" indent="0">
              <a:buNone/>
              <a:defRPr/>
            </a:lvl2pPr>
            <a:lvl3pPr marL="679450" indent="0">
              <a:buNone/>
              <a:defRPr/>
            </a:lvl3pPr>
            <a:lvl4pPr marL="966787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Photo plus</a:t>
            </a:r>
            <a:br>
              <a:rPr lang="en-US" dirty="0"/>
            </a:br>
            <a:r>
              <a:rPr lang="en-US" dirty="0"/>
              <a:t>statement</a:t>
            </a:r>
            <a:br>
              <a:rPr lang="en-US" dirty="0"/>
            </a:br>
            <a:r>
              <a:rPr lang="en-US" dirty="0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788" y="21633029"/>
            <a:ext cx="3514065" cy="120643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</a:defRPr>
            </a:lvl1pPr>
            <a:lvl2pPr marL="609494" indent="0">
              <a:buNone/>
              <a:defRPr/>
            </a:lvl2pPr>
            <a:lvl3pPr marL="1218986" indent="0">
              <a:buNone/>
              <a:defRPr/>
            </a:lvl3pPr>
            <a:lvl4pPr marL="1828480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11" name="Rectangle 10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5531349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783" y="9379996"/>
            <a:ext cx="10167728" cy="23830408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400" b="1" spc="-150">
                <a:solidFill>
                  <a:schemeClr val="tx1"/>
                </a:solidFill>
              </a:defRPr>
            </a:lvl1pPr>
            <a:lvl2pPr marL="341313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787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54486" y="33981313"/>
            <a:ext cx="10162029" cy="6439994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1" spc="-150" baseline="0">
                <a:solidFill>
                  <a:schemeClr val="tx1"/>
                </a:solidFill>
              </a:defRPr>
            </a:lvl1pPr>
            <a:lvl2pPr marL="341313" indent="0">
              <a:buNone/>
              <a:defRPr/>
            </a:lvl2pPr>
            <a:lvl3pPr marL="679450" indent="0">
              <a:buNone/>
              <a:defRPr/>
            </a:lvl3pPr>
            <a:lvl4pPr marL="966787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548783" y="2928346"/>
            <a:ext cx="990858" cy="5401664"/>
            <a:chOff x="657226" y="398463"/>
            <a:chExt cx="990600" cy="735013"/>
          </a:xfrm>
          <a:gradFill>
            <a:gsLst>
              <a:gs pos="0">
                <a:srgbClr val="F2A11F"/>
              </a:gs>
              <a:gs pos="37000">
                <a:srgbClr val="EC5124"/>
              </a:gs>
              <a:gs pos="79000">
                <a:srgbClr val="D32A27"/>
              </a:gs>
              <a:gs pos="100000">
                <a:srgbClr val="7A425E"/>
              </a:gs>
            </a:gsLst>
            <a:lin ang="2400000" scaled="0"/>
          </a:gradFill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657226" y="398463"/>
              <a:ext cx="452438" cy="735013"/>
            </a:xfrm>
            <a:custGeom>
              <a:avLst/>
              <a:gdLst>
                <a:gd name="T0" fmla="*/ 0 w 452"/>
                <a:gd name="T1" fmla="*/ 428 h 736"/>
                <a:gd name="T2" fmla="*/ 422 w 452"/>
                <a:gd name="T3" fmla="*/ 0 h 736"/>
                <a:gd name="T4" fmla="*/ 452 w 452"/>
                <a:gd name="T5" fmla="*/ 144 h 736"/>
                <a:gd name="T6" fmla="*/ 228 w 452"/>
                <a:gd name="T7" fmla="*/ 370 h 736"/>
                <a:gd name="T8" fmla="*/ 370 w 452"/>
                <a:gd name="T9" fmla="*/ 370 h 736"/>
                <a:gd name="T10" fmla="*/ 370 w 452"/>
                <a:gd name="T11" fmla="*/ 736 h 736"/>
                <a:gd name="T12" fmla="*/ 0 w 452"/>
                <a:gd name="T13" fmla="*/ 736 h 736"/>
                <a:gd name="T14" fmla="*/ 0 w 452"/>
                <a:gd name="T15" fmla="*/ 428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2" h="736">
                  <a:moveTo>
                    <a:pt x="0" y="428"/>
                  </a:moveTo>
                  <a:cubicBezTo>
                    <a:pt x="0" y="126"/>
                    <a:pt x="151" y="5"/>
                    <a:pt x="422" y="0"/>
                  </a:cubicBezTo>
                  <a:cubicBezTo>
                    <a:pt x="452" y="144"/>
                    <a:pt x="452" y="144"/>
                    <a:pt x="452" y="144"/>
                  </a:cubicBezTo>
                  <a:cubicBezTo>
                    <a:pt x="294" y="160"/>
                    <a:pt x="217" y="240"/>
                    <a:pt x="228" y="370"/>
                  </a:cubicBezTo>
                  <a:cubicBezTo>
                    <a:pt x="370" y="370"/>
                    <a:pt x="370" y="370"/>
                    <a:pt x="370" y="370"/>
                  </a:cubicBezTo>
                  <a:cubicBezTo>
                    <a:pt x="370" y="736"/>
                    <a:pt x="370" y="736"/>
                    <a:pt x="370" y="736"/>
                  </a:cubicBezTo>
                  <a:cubicBezTo>
                    <a:pt x="0" y="736"/>
                    <a:pt x="0" y="736"/>
                    <a:pt x="0" y="736"/>
                  </a:cubicBezTo>
                  <a:lnTo>
                    <a:pt x="0" y="4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1195388" y="398463"/>
              <a:ext cx="452438" cy="735013"/>
            </a:xfrm>
            <a:custGeom>
              <a:avLst/>
              <a:gdLst>
                <a:gd name="T0" fmla="*/ 0 w 452"/>
                <a:gd name="T1" fmla="*/ 428 h 736"/>
                <a:gd name="T2" fmla="*/ 422 w 452"/>
                <a:gd name="T3" fmla="*/ 0 h 736"/>
                <a:gd name="T4" fmla="*/ 452 w 452"/>
                <a:gd name="T5" fmla="*/ 144 h 736"/>
                <a:gd name="T6" fmla="*/ 228 w 452"/>
                <a:gd name="T7" fmla="*/ 370 h 736"/>
                <a:gd name="T8" fmla="*/ 370 w 452"/>
                <a:gd name="T9" fmla="*/ 370 h 736"/>
                <a:gd name="T10" fmla="*/ 370 w 452"/>
                <a:gd name="T11" fmla="*/ 736 h 736"/>
                <a:gd name="T12" fmla="*/ 0 w 452"/>
                <a:gd name="T13" fmla="*/ 736 h 736"/>
                <a:gd name="T14" fmla="*/ 0 w 452"/>
                <a:gd name="T15" fmla="*/ 428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2" h="736">
                  <a:moveTo>
                    <a:pt x="0" y="428"/>
                  </a:moveTo>
                  <a:cubicBezTo>
                    <a:pt x="0" y="126"/>
                    <a:pt x="151" y="5"/>
                    <a:pt x="422" y="0"/>
                  </a:cubicBezTo>
                  <a:cubicBezTo>
                    <a:pt x="452" y="144"/>
                    <a:pt x="452" y="144"/>
                    <a:pt x="452" y="144"/>
                  </a:cubicBezTo>
                  <a:cubicBezTo>
                    <a:pt x="294" y="160"/>
                    <a:pt x="217" y="240"/>
                    <a:pt x="228" y="370"/>
                  </a:cubicBezTo>
                  <a:cubicBezTo>
                    <a:pt x="370" y="370"/>
                    <a:pt x="370" y="370"/>
                    <a:pt x="370" y="370"/>
                  </a:cubicBezTo>
                  <a:cubicBezTo>
                    <a:pt x="370" y="736"/>
                    <a:pt x="370" y="736"/>
                    <a:pt x="370" y="736"/>
                  </a:cubicBezTo>
                  <a:cubicBezTo>
                    <a:pt x="0" y="736"/>
                    <a:pt x="0" y="736"/>
                    <a:pt x="0" y="736"/>
                  </a:cubicBezTo>
                  <a:lnTo>
                    <a:pt x="0" y="4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</p:grp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051552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783" y="9379996"/>
            <a:ext cx="10167728" cy="23830408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400" b="1" spc="-150">
                <a:solidFill>
                  <a:schemeClr val="bg1"/>
                </a:solidFill>
              </a:defRPr>
            </a:lvl1pPr>
            <a:lvl2pPr marL="341313" indent="0" algn="ctr">
              <a:buNone/>
              <a:defRPr>
                <a:solidFill>
                  <a:schemeClr val="bg1"/>
                </a:solidFill>
              </a:defRPr>
            </a:lvl2pPr>
            <a:lvl3pPr marL="679450" indent="0" algn="ctr">
              <a:buNone/>
              <a:defRPr>
                <a:solidFill>
                  <a:schemeClr val="bg1"/>
                </a:solidFill>
              </a:defRPr>
            </a:lvl3pPr>
            <a:lvl4pPr marL="966787" indent="0" algn="ctr">
              <a:buNone/>
              <a:defRPr>
                <a:solidFill>
                  <a:schemeClr val="bg1"/>
                </a:solidFill>
              </a:defRPr>
            </a:lvl4pPr>
            <a:lvl5pPr marL="114617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54486" y="33981313"/>
            <a:ext cx="10162029" cy="6439994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1" spc="-150" baseline="0">
                <a:solidFill>
                  <a:schemeClr val="bg1"/>
                </a:solidFill>
              </a:defRPr>
            </a:lvl1pPr>
            <a:lvl2pPr marL="341313" indent="0">
              <a:buNone/>
              <a:defRPr/>
            </a:lvl2pPr>
            <a:lvl3pPr marL="679450" indent="0">
              <a:buNone/>
              <a:defRPr/>
            </a:lvl3pPr>
            <a:lvl4pPr marL="966787" indent="0">
              <a:buNone/>
              <a:defRPr/>
            </a:lvl4pPr>
            <a:lvl5pPr marL="1146175" indent="0">
              <a:buNone/>
              <a:defRPr/>
            </a:lvl5pPr>
          </a:lstStyle>
          <a:p>
            <a:pPr lvl="0"/>
            <a:r>
              <a:rPr lang="en-US" dirty="0"/>
              <a:t>Click to edit quote source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11" name="Rectangle 10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9371872-34E0-4E87-A880-855C986DEFEB}"/>
              </a:ext>
            </a:extLst>
          </p:cNvPr>
          <p:cNvGrpSpPr/>
          <p:nvPr userDrawn="1"/>
        </p:nvGrpSpPr>
        <p:grpSpPr>
          <a:xfrm>
            <a:off x="548783" y="2928346"/>
            <a:ext cx="990858" cy="5401664"/>
            <a:chOff x="657226" y="398463"/>
            <a:chExt cx="990600" cy="735013"/>
          </a:xfrm>
          <a:gradFill>
            <a:gsLst>
              <a:gs pos="0">
                <a:srgbClr val="F2A11F"/>
              </a:gs>
              <a:gs pos="37000">
                <a:srgbClr val="EC5124"/>
              </a:gs>
              <a:gs pos="79000">
                <a:srgbClr val="D32A27"/>
              </a:gs>
              <a:gs pos="100000">
                <a:srgbClr val="7A425E"/>
              </a:gs>
            </a:gsLst>
            <a:lin ang="2400000" scaled="0"/>
          </a:gradFill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CA59E31A-C52B-4474-A5A0-530DF770A4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226" y="398463"/>
              <a:ext cx="452438" cy="735013"/>
            </a:xfrm>
            <a:custGeom>
              <a:avLst/>
              <a:gdLst>
                <a:gd name="T0" fmla="*/ 0 w 452"/>
                <a:gd name="T1" fmla="*/ 428 h 736"/>
                <a:gd name="T2" fmla="*/ 422 w 452"/>
                <a:gd name="T3" fmla="*/ 0 h 736"/>
                <a:gd name="T4" fmla="*/ 452 w 452"/>
                <a:gd name="T5" fmla="*/ 144 h 736"/>
                <a:gd name="T6" fmla="*/ 228 w 452"/>
                <a:gd name="T7" fmla="*/ 370 h 736"/>
                <a:gd name="T8" fmla="*/ 370 w 452"/>
                <a:gd name="T9" fmla="*/ 370 h 736"/>
                <a:gd name="T10" fmla="*/ 370 w 452"/>
                <a:gd name="T11" fmla="*/ 736 h 736"/>
                <a:gd name="T12" fmla="*/ 0 w 452"/>
                <a:gd name="T13" fmla="*/ 736 h 736"/>
                <a:gd name="T14" fmla="*/ 0 w 452"/>
                <a:gd name="T15" fmla="*/ 428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2" h="736">
                  <a:moveTo>
                    <a:pt x="0" y="428"/>
                  </a:moveTo>
                  <a:cubicBezTo>
                    <a:pt x="0" y="126"/>
                    <a:pt x="151" y="5"/>
                    <a:pt x="422" y="0"/>
                  </a:cubicBezTo>
                  <a:cubicBezTo>
                    <a:pt x="452" y="144"/>
                    <a:pt x="452" y="144"/>
                    <a:pt x="452" y="144"/>
                  </a:cubicBezTo>
                  <a:cubicBezTo>
                    <a:pt x="294" y="160"/>
                    <a:pt x="217" y="240"/>
                    <a:pt x="228" y="370"/>
                  </a:cubicBezTo>
                  <a:cubicBezTo>
                    <a:pt x="370" y="370"/>
                    <a:pt x="370" y="370"/>
                    <a:pt x="370" y="370"/>
                  </a:cubicBezTo>
                  <a:cubicBezTo>
                    <a:pt x="370" y="736"/>
                    <a:pt x="370" y="736"/>
                    <a:pt x="370" y="736"/>
                  </a:cubicBezTo>
                  <a:cubicBezTo>
                    <a:pt x="0" y="736"/>
                    <a:pt x="0" y="736"/>
                    <a:pt x="0" y="736"/>
                  </a:cubicBezTo>
                  <a:lnTo>
                    <a:pt x="0" y="4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123B3F17-34EE-4FBA-8852-7ED07762D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5388" y="398463"/>
              <a:ext cx="452438" cy="735013"/>
            </a:xfrm>
            <a:custGeom>
              <a:avLst/>
              <a:gdLst>
                <a:gd name="T0" fmla="*/ 0 w 452"/>
                <a:gd name="T1" fmla="*/ 428 h 736"/>
                <a:gd name="T2" fmla="*/ 422 w 452"/>
                <a:gd name="T3" fmla="*/ 0 h 736"/>
                <a:gd name="T4" fmla="*/ 452 w 452"/>
                <a:gd name="T5" fmla="*/ 144 h 736"/>
                <a:gd name="T6" fmla="*/ 228 w 452"/>
                <a:gd name="T7" fmla="*/ 370 h 736"/>
                <a:gd name="T8" fmla="*/ 370 w 452"/>
                <a:gd name="T9" fmla="*/ 370 h 736"/>
                <a:gd name="T10" fmla="*/ 370 w 452"/>
                <a:gd name="T11" fmla="*/ 736 h 736"/>
                <a:gd name="T12" fmla="*/ 0 w 452"/>
                <a:gd name="T13" fmla="*/ 736 h 736"/>
                <a:gd name="T14" fmla="*/ 0 w 452"/>
                <a:gd name="T15" fmla="*/ 428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2" h="736">
                  <a:moveTo>
                    <a:pt x="0" y="428"/>
                  </a:moveTo>
                  <a:cubicBezTo>
                    <a:pt x="0" y="126"/>
                    <a:pt x="151" y="5"/>
                    <a:pt x="422" y="0"/>
                  </a:cubicBezTo>
                  <a:cubicBezTo>
                    <a:pt x="452" y="144"/>
                    <a:pt x="452" y="144"/>
                    <a:pt x="452" y="144"/>
                  </a:cubicBezTo>
                  <a:cubicBezTo>
                    <a:pt x="294" y="160"/>
                    <a:pt x="217" y="240"/>
                    <a:pt x="228" y="370"/>
                  </a:cubicBezTo>
                  <a:cubicBezTo>
                    <a:pt x="370" y="370"/>
                    <a:pt x="370" y="370"/>
                    <a:pt x="370" y="370"/>
                  </a:cubicBezTo>
                  <a:cubicBezTo>
                    <a:pt x="370" y="736"/>
                    <a:pt x="370" y="736"/>
                    <a:pt x="370" y="736"/>
                  </a:cubicBezTo>
                  <a:cubicBezTo>
                    <a:pt x="0" y="736"/>
                    <a:pt x="0" y="736"/>
                    <a:pt x="0" y="736"/>
                  </a:cubicBezTo>
                  <a:lnTo>
                    <a:pt x="0" y="4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</p:grpSp>
    </p:spTree>
    <p:extLst>
      <p:ext uri="{BB962C8B-B14F-4D97-AF65-F5344CB8AC3E}">
        <p14:creationId xmlns:p14="http://schemas.microsoft.com/office/powerpoint/2010/main" val="4125100320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1" y="3"/>
            <a:ext cx="6568599" cy="503999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7069" y="9609602"/>
            <a:ext cx="4708781" cy="3615442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7068" y="2956796"/>
            <a:ext cx="4708781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173192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1" y="3"/>
            <a:ext cx="6568599" cy="503999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7069" y="9609595"/>
            <a:ext cx="4708781" cy="3691998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7068" y="2956796"/>
            <a:ext cx="4708781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13" name="Rectangle 12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6472903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7" y="9609598"/>
            <a:ext cx="11076269" cy="36154416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044554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783" y="2956796"/>
            <a:ext cx="11076268" cy="383039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987" rtl="0" eaLnBrk="1" latinLnBrk="0" hangingPunct="1">
              <a:lnSpc>
                <a:spcPts val="32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200" b="1" kern="1200" cap="none" spc="-15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787" y="9609598"/>
            <a:ext cx="11076269" cy="36154416"/>
          </a:xfrm>
          <a:prstGeom prst="rect">
            <a:avLst/>
          </a:prstGeom>
        </p:spPr>
        <p:txBody>
          <a:bodyPr lIns="121899" tIns="853291" rIns="121899" bIns="60949" anchor="ctr" anchorCtr="0"/>
          <a:lstStyle>
            <a:lvl1pPr marL="0" indent="0" algn="ctr">
              <a:buFontTx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create char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8" name="Rectangle 7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6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724994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Main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797794-0C82-4CF0-BC7F-A0F4C0244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467951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797794-0C82-4CF0-BC7F-A0F4C0244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B1811D8-E849-4ACA-8446-F6E2FD56C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2522138"/>
            <a:ext cx="10751226" cy="282621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54" name="Footer Placeholder 4">
            <a:extLst>
              <a:ext uri="{FF2B5EF4-FFF2-40B4-BE49-F238E27FC236}">
                <a16:creationId xmlns:a16="http://schemas.microsoft.com/office/drawing/2014/main" id="{077DBD3E-34E8-4322-B325-A918E00973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Slide Number Placeholder 5">
            <a:extLst>
              <a:ext uri="{FF2B5EF4-FFF2-40B4-BE49-F238E27FC236}">
                <a16:creationId xmlns:a16="http://schemas.microsoft.com/office/drawing/2014/main" id="{B2681DC3-093A-4D06-B769-571F6455A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52">
            <a:extLst>
              <a:ext uri="{FF2B5EF4-FFF2-40B4-BE49-F238E27FC236}">
                <a16:creationId xmlns:a16="http://schemas.microsoft.com/office/drawing/2014/main" id="{90726B3D-BDF5-42BE-B50F-BD212F326A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9636" y="10817380"/>
            <a:ext cx="10751226" cy="333278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2912563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8" userDrawn="1">
          <p15:clr>
            <a:srgbClr val="FA7B17"/>
          </p15:clr>
        </p15:guide>
        <p15:guide id="2" pos="4992" userDrawn="1">
          <p15:clr>
            <a:srgbClr val="FA7B17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56006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16" name="Rectangle 15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1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9549641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oup 80"/>
          <p:cNvGrpSpPr/>
          <p:nvPr userDrawn="1"/>
        </p:nvGrpSpPr>
        <p:grpSpPr>
          <a:xfrm rot="16200000">
            <a:off x="-21391723" y="24420750"/>
            <a:ext cx="50386824" cy="1545292"/>
            <a:chOff x="541049" y="2649538"/>
            <a:chExt cx="9285724" cy="2092325"/>
          </a:xfrm>
          <a:solidFill>
            <a:schemeClr val="tx1"/>
          </a:solidFill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541049" y="2809876"/>
              <a:ext cx="963613" cy="1928813"/>
            </a:xfrm>
            <a:custGeom>
              <a:avLst/>
              <a:gdLst>
                <a:gd name="T0" fmla="*/ 57 w 301"/>
                <a:gd name="T1" fmla="*/ 458 h 600"/>
                <a:gd name="T2" fmla="*/ 57 w 301"/>
                <a:gd name="T3" fmla="*/ 235 h 600"/>
                <a:gd name="T4" fmla="*/ 0 w 301"/>
                <a:gd name="T5" fmla="*/ 235 h 600"/>
                <a:gd name="T6" fmla="*/ 0 w 301"/>
                <a:gd name="T7" fmla="*/ 121 h 600"/>
                <a:gd name="T8" fmla="*/ 57 w 301"/>
                <a:gd name="T9" fmla="*/ 121 h 600"/>
                <a:gd name="T10" fmla="*/ 57 w 301"/>
                <a:gd name="T11" fmla="*/ 0 h 600"/>
                <a:gd name="T12" fmla="*/ 190 w 301"/>
                <a:gd name="T13" fmla="*/ 0 h 600"/>
                <a:gd name="T14" fmla="*/ 190 w 301"/>
                <a:gd name="T15" fmla="*/ 121 h 600"/>
                <a:gd name="T16" fmla="*/ 301 w 301"/>
                <a:gd name="T17" fmla="*/ 121 h 600"/>
                <a:gd name="T18" fmla="*/ 301 w 301"/>
                <a:gd name="T19" fmla="*/ 235 h 600"/>
                <a:gd name="T20" fmla="*/ 190 w 301"/>
                <a:gd name="T21" fmla="*/ 235 h 600"/>
                <a:gd name="T22" fmla="*/ 190 w 301"/>
                <a:gd name="T23" fmla="*/ 436 h 600"/>
                <a:gd name="T24" fmla="*/ 233 w 301"/>
                <a:gd name="T25" fmla="*/ 482 h 600"/>
                <a:gd name="T26" fmla="*/ 299 w 301"/>
                <a:gd name="T27" fmla="*/ 465 h 600"/>
                <a:gd name="T28" fmla="*/ 299 w 301"/>
                <a:gd name="T29" fmla="*/ 573 h 600"/>
                <a:gd name="T30" fmla="*/ 194 w 301"/>
                <a:gd name="T31" fmla="*/ 600 h 600"/>
                <a:gd name="T32" fmla="*/ 57 w 301"/>
                <a:gd name="T33" fmla="*/ 458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1" h="600">
                  <a:moveTo>
                    <a:pt x="57" y="458"/>
                  </a:moveTo>
                  <a:cubicBezTo>
                    <a:pt x="57" y="235"/>
                    <a:pt x="57" y="235"/>
                    <a:pt x="57" y="235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57" y="121"/>
                    <a:pt x="57" y="121"/>
                    <a:pt x="57" y="12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301" y="121"/>
                    <a:pt x="301" y="121"/>
                    <a:pt x="301" y="121"/>
                  </a:cubicBezTo>
                  <a:cubicBezTo>
                    <a:pt x="301" y="235"/>
                    <a:pt x="301" y="235"/>
                    <a:pt x="301" y="235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90" y="436"/>
                    <a:pt x="190" y="436"/>
                    <a:pt x="190" y="436"/>
                  </a:cubicBezTo>
                  <a:cubicBezTo>
                    <a:pt x="190" y="467"/>
                    <a:pt x="203" y="482"/>
                    <a:pt x="233" y="482"/>
                  </a:cubicBezTo>
                  <a:cubicBezTo>
                    <a:pt x="258" y="482"/>
                    <a:pt x="280" y="476"/>
                    <a:pt x="299" y="465"/>
                  </a:cubicBezTo>
                  <a:cubicBezTo>
                    <a:pt x="299" y="573"/>
                    <a:pt x="299" y="573"/>
                    <a:pt x="299" y="573"/>
                  </a:cubicBezTo>
                  <a:cubicBezTo>
                    <a:pt x="271" y="590"/>
                    <a:pt x="239" y="600"/>
                    <a:pt x="194" y="600"/>
                  </a:cubicBezTo>
                  <a:cubicBezTo>
                    <a:pt x="112" y="600"/>
                    <a:pt x="57" y="568"/>
                    <a:pt x="57" y="4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1708151" y="2649538"/>
              <a:ext cx="1382713" cy="2063750"/>
            </a:xfrm>
            <a:custGeom>
              <a:avLst/>
              <a:gdLst>
                <a:gd name="T0" fmla="*/ 0 w 432"/>
                <a:gd name="T1" fmla="*/ 0 h 642"/>
                <a:gd name="T2" fmla="*/ 134 w 432"/>
                <a:gd name="T3" fmla="*/ 0 h 642"/>
                <a:gd name="T4" fmla="*/ 134 w 432"/>
                <a:gd name="T5" fmla="*/ 237 h 642"/>
                <a:gd name="T6" fmla="*/ 272 w 432"/>
                <a:gd name="T7" fmla="*/ 162 h 642"/>
                <a:gd name="T8" fmla="*/ 432 w 432"/>
                <a:gd name="T9" fmla="*/ 337 h 642"/>
                <a:gd name="T10" fmla="*/ 432 w 432"/>
                <a:gd name="T11" fmla="*/ 642 h 642"/>
                <a:gd name="T12" fmla="*/ 298 w 432"/>
                <a:gd name="T13" fmla="*/ 642 h 642"/>
                <a:gd name="T14" fmla="*/ 298 w 432"/>
                <a:gd name="T15" fmla="*/ 379 h 642"/>
                <a:gd name="T16" fmla="*/ 218 w 432"/>
                <a:gd name="T17" fmla="*/ 283 h 642"/>
                <a:gd name="T18" fmla="*/ 134 w 432"/>
                <a:gd name="T19" fmla="*/ 379 h 642"/>
                <a:gd name="T20" fmla="*/ 134 w 432"/>
                <a:gd name="T21" fmla="*/ 642 h 642"/>
                <a:gd name="T22" fmla="*/ 0 w 432"/>
                <a:gd name="T23" fmla="*/ 642 h 642"/>
                <a:gd name="T24" fmla="*/ 0 w 432"/>
                <a:gd name="T25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2" h="642">
                  <a:moveTo>
                    <a:pt x="0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65" y="198"/>
                    <a:pt x="204" y="162"/>
                    <a:pt x="272" y="162"/>
                  </a:cubicBezTo>
                  <a:cubicBezTo>
                    <a:pt x="373" y="162"/>
                    <a:pt x="432" y="229"/>
                    <a:pt x="432" y="337"/>
                  </a:cubicBezTo>
                  <a:cubicBezTo>
                    <a:pt x="432" y="642"/>
                    <a:pt x="432" y="642"/>
                    <a:pt x="432" y="642"/>
                  </a:cubicBezTo>
                  <a:cubicBezTo>
                    <a:pt x="298" y="642"/>
                    <a:pt x="298" y="642"/>
                    <a:pt x="298" y="642"/>
                  </a:cubicBezTo>
                  <a:cubicBezTo>
                    <a:pt x="298" y="379"/>
                    <a:pt x="298" y="379"/>
                    <a:pt x="298" y="379"/>
                  </a:cubicBezTo>
                  <a:cubicBezTo>
                    <a:pt x="298" y="316"/>
                    <a:pt x="269" y="283"/>
                    <a:pt x="218" y="283"/>
                  </a:cubicBezTo>
                  <a:cubicBezTo>
                    <a:pt x="166" y="283"/>
                    <a:pt x="134" y="316"/>
                    <a:pt x="134" y="379"/>
                  </a:cubicBezTo>
                  <a:cubicBezTo>
                    <a:pt x="134" y="642"/>
                    <a:pt x="134" y="642"/>
                    <a:pt x="134" y="642"/>
                  </a:cubicBezTo>
                  <a:cubicBezTo>
                    <a:pt x="0" y="642"/>
                    <a:pt x="0" y="642"/>
                    <a:pt x="0" y="64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3261304" y="3179763"/>
              <a:ext cx="1390650" cy="1562100"/>
            </a:xfrm>
            <a:custGeom>
              <a:avLst/>
              <a:gdLst>
                <a:gd name="T0" fmla="*/ 0 w 434"/>
                <a:gd name="T1" fmla="*/ 342 h 486"/>
                <a:gd name="T2" fmla="*/ 0 w 434"/>
                <a:gd name="T3" fmla="*/ 340 h 486"/>
                <a:gd name="T4" fmla="*/ 190 w 434"/>
                <a:gd name="T5" fmla="*/ 189 h 486"/>
                <a:gd name="T6" fmla="*/ 305 w 434"/>
                <a:gd name="T7" fmla="*/ 209 h 486"/>
                <a:gd name="T8" fmla="*/ 305 w 434"/>
                <a:gd name="T9" fmla="*/ 201 h 486"/>
                <a:gd name="T10" fmla="*/ 204 w 434"/>
                <a:gd name="T11" fmla="*/ 115 h 486"/>
                <a:gd name="T12" fmla="*/ 74 w 434"/>
                <a:gd name="T13" fmla="*/ 140 h 486"/>
                <a:gd name="T14" fmla="*/ 40 w 434"/>
                <a:gd name="T15" fmla="*/ 38 h 486"/>
                <a:gd name="T16" fmla="*/ 223 w 434"/>
                <a:gd name="T17" fmla="*/ 0 h 486"/>
                <a:gd name="T18" fmla="*/ 383 w 434"/>
                <a:gd name="T19" fmla="*/ 53 h 486"/>
                <a:gd name="T20" fmla="*/ 434 w 434"/>
                <a:gd name="T21" fmla="*/ 204 h 486"/>
                <a:gd name="T22" fmla="*/ 434 w 434"/>
                <a:gd name="T23" fmla="*/ 477 h 486"/>
                <a:gd name="T24" fmla="*/ 304 w 434"/>
                <a:gd name="T25" fmla="*/ 477 h 486"/>
                <a:gd name="T26" fmla="*/ 304 w 434"/>
                <a:gd name="T27" fmla="*/ 426 h 486"/>
                <a:gd name="T28" fmla="*/ 162 w 434"/>
                <a:gd name="T29" fmla="*/ 486 h 486"/>
                <a:gd name="T30" fmla="*/ 0 w 434"/>
                <a:gd name="T31" fmla="*/ 342 h 486"/>
                <a:gd name="T32" fmla="*/ 307 w 434"/>
                <a:gd name="T33" fmla="*/ 311 h 486"/>
                <a:gd name="T34" fmla="*/ 307 w 434"/>
                <a:gd name="T35" fmla="*/ 287 h 486"/>
                <a:gd name="T36" fmla="*/ 222 w 434"/>
                <a:gd name="T37" fmla="*/ 270 h 486"/>
                <a:gd name="T38" fmla="*/ 129 w 434"/>
                <a:gd name="T39" fmla="*/ 335 h 486"/>
                <a:gd name="T40" fmla="*/ 129 w 434"/>
                <a:gd name="T41" fmla="*/ 336 h 486"/>
                <a:gd name="T42" fmla="*/ 202 w 434"/>
                <a:gd name="T43" fmla="*/ 394 h 486"/>
                <a:gd name="T44" fmla="*/ 307 w 434"/>
                <a:gd name="T45" fmla="*/ 31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4" h="486">
                  <a:moveTo>
                    <a:pt x="0" y="342"/>
                  </a:moveTo>
                  <a:cubicBezTo>
                    <a:pt x="0" y="340"/>
                    <a:pt x="0" y="340"/>
                    <a:pt x="0" y="340"/>
                  </a:cubicBezTo>
                  <a:cubicBezTo>
                    <a:pt x="0" y="237"/>
                    <a:pt x="78" y="189"/>
                    <a:pt x="190" y="189"/>
                  </a:cubicBezTo>
                  <a:cubicBezTo>
                    <a:pt x="237" y="189"/>
                    <a:pt x="272" y="197"/>
                    <a:pt x="305" y="209"/>
                  </a:cubicBezTo>
                  <a:cubicBezTo>
                    <a:pt x="305" y="201"/>
                    <a:pt x="305" y="201"/>
                    <a:pt x="305" y="201"/>
                  </a:cubicBezTo>
                  <a:cubicBezTo>
                    <a:pt x="305" y="145"/>
                    <a:pt x="271" y="115"/>
                    <a:pt x="204" y="115"/>
                  </a:cubicBezTo>
                  <a:cubicBezTo>
                    <a:pt x="153" y="115"/>
                    <a:pt x="117" y="124"/>
                    <a:pt x="74" y="140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92" y="15"/>
                    <a:pt x="143" y="0"/>
                    <a:pt x="223" y="0"/>
                  </a:cubicBezTo>
                  <a:cubicBezTo>
                    <a:pt x="296" y="0"/>
                    <a:pt x="349" y="20"/>
                    <a:pt x="383" y="53"/>
                  </a:cubicBezTo>
                  <a:cubicBezTo>
                    <a:pt x="418" y="88"/>
                    <a:pt x="434" y="140"/>
                    <a:pt x="434" y="204"/>
                  </a:cubicBezTo>
                  <a:cubicBezTo>
                    <a:pt x="434" y="477"/>
                    <a:pt x="434" y="477"/>
                    <a:pt x="434" y="477"/>
                  </a:cubicBezTo>
                  <a:cubicBezTo>
                    <a:pt x="304" y="477"/>
                    <a:pt x="304" y="477"/>
                    <a:pt x="304" y="477"/>
                  </a:cubicBezTo>
                  <a:cubicBezTo>
                    <a:pt x="304" y="426"/>
                    <a:pt x="304" y="426"/>
                    <a:pt x="304" y="426"/>
                  </a:cubicBezTo>
                  <a:cubicBezTo>
                    <a:pt x="272" y="462"/>
                    <a:pt x="227" y="486"/>
                    <a:pt x="162" y="486"/>
                  </a:cubicBezTo>
                  <a:cubicBezTo>
                    <a:pt x="73" y="486"/>
                    <a:pt x="0" y="435"/>
                    <a:pt x="0" y="342"/>
                  </a:cubicBezTo>
                  <a:close/>
                  <a:moveTo>
                    <a:pt x="307" y="311"/>
                  </a:moveTo>
                  <a:cubicBezTo>
                    <a:pt x="307" y="287"/>
                    <a:pt x="307" y="287"/>
                    <a:pt x="307" y="287"/>
                  </a:cubicBezTo>
                  <a:cubicBezTo>
                    <a:pt x="284" y="277"/>
                    <a:pt x="254" y="270"/>
                    <a:pt x="222" y="270"/>
                  </a:cubicBezTo>
                  <a:cubicBezTo>
                    <a:pt x="164" y="270"/>
                    <a:pt x="129" y="292"/>
                    <a:pt x="129" y="335"/>
                  </a:cubicBezTo>
                  <a:cubicBezTo>
                    <a:pt x="129" y="336"/>
                    <a:pt x="129" y="336"/>
                    <a:pt x="129" y="336"/>
                  </a:cubicBezTo>
                  <a:cubicBezTo>
                    <a:pt x="129" y="372"/>
                    <a:pt x="159" y="394"/>
                    <a:pt x="202" y="394"/>
                  </a:cubicBezTo>
                  <a:cubicBezTo>
                    <a:pt x="265" y="394"/>
                    <a:pt x="307" y="359"/>
                    <a:pt x="307" y="3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4859916" y="3170238"/>
              <a:ext cx="1384300" cy="1543050"/>
            </a:xfrm>
            <a:custGeom>
              <a:avLst/>
              <a:gdLst>
                <a:gd name="T0" fmla="*/ 0 w 432"/>
                <a:gd name="T1" fmla="*/ 9 h 480"/>
                <a:gd name="T2" fmla="*/ 133 w 432"/>
                <a:gd name="T3" fmla="*/ 9 h 480"/>
                <a:gd name="T4" fmla="*/ 133 w 432"/>
                <a:gd name="T5" fmla="*/ 75 h 480"/>
                <a:gd name="T6" fmla="*/ 272 w 432"/>
                <a:gd name="T7" fmla="*/ 0 h 480"/>
                <a:gd name="T8" fmla="*/ 432 w 432"/>
                <a:gd name="T9" fmla="*/ 175 h 480"/>
                <a:gd name="T10" fmla="*/ 432 w 432"/>
                <a:gd name="T11" fmla="*/ 480 h 480"/>
                <a:gd name="T12" fmla="*/ 298 w 432"/>
                <a:gd name="T13" fmla="*/ 480 h 480"/>
                <a:gd name="T14" fmla="*/ 298 w 432"/>
                <a:gd name="T15" fmla="*/ 217 h 480"/>
                <a:gd name="T16" fmla="*/ 217 w 432"/>
                <a:gd name="T17" fmla="*/ 121 h 480"/>
                <a:gd name="T18" fmla="*/ 133 w 432"/>
                <a:gd name="T19" fmla="*/ 217 h 480"/>
                <a:gd name="T20" fmla="*/ 133 w 432"/>
                <a:gd name="T21" fmla="*/ 480 h 480"/>
                <a:gd name="T22" fmla="*/ 0 w 432"/>
                <a:gd name="T23" fmla="*/ 480 h 480"/>
                <a:gd name="T24" fmla="*/ 0 w 432"/>
                <a:gd name="T25" fmla="*/ 9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2" h="480">
                  <a:moveTo>
                    <a:pt x="0" y="9"/>
                  </a:moveTo>
                  <a:cubicBezTo>
                    <a:pt x="133" y="9"/>
                    <a:pt x="133" y="9"/>
                    <a:pt x="133" y="9"/>
                  </a:cubicBezTo>
                  <a:cubicBezTo>
                    <a:pt x="133" y="75"/>
                    <a:pt x="133" y="75"/>
                    <a:pt x="133" y="75"/>
                  </a:cubicBezTo>
                  <a:cubicBezTo>
                    <a:pt x="164" y="36"/>
                    <a:pt x="204" y="0"/>
                    <a:pt x="272" y="0"/>
                  </a:cubicBezTo>
                  <a:cubicBezTo>
                    <a:pt x="373" y="0"/>
                    <a:pt x="432" y="67"/>
                    <a:pt x="432" y="175"/>
                  </a:cubicBezTo>
                  <a:cubicBezTo>
                    <a:pt x="432" y="480"/>
                    <a:pt x="432" y="480"/>
                    <a:pt x="432" y="480"/>
                  </a:cubicBezTo>
                  <a:cubicBezTo>
                    <a:pt x="298" y="480"/>
                    <a:pt x="298" y="480"/>
                    <a:pt x="298" y="480"/>
                  </a:cubicBezTo>
                  <a:cubicBezTo>
                    <a:pt x="298" y="217"/>
                    <a:pt x="298" y="217"/>
                    <a:pt x="298" y="217"/>
                  </a:cubicBezTo>
                  <a:cubicBezTo>
                    <a:pt x="298" y="154"/>
                    <a:pt x="268" y="121"/>
                    <a:pt x="217" y="121"/>
                  </a:cubicBezTo>
                  <a:cubicBezTo>
                    <a:pt x="166" y="121"/>
                    <a:pt x="133" y="154"/>
                    <a:pt x="133" y="217"/>
                  </a:cubicBezTo>
                  <a:cubicBezTo>
                    <a:pt x="133" y="480"/>
                    <a:pt x="133" y="480"/>
                    <a:pt x="133" y="480"/>
                  </a:cubicBezTo>
                  <a:cubicBezTo>
                    <a:pt x="0" y="480"/>
                    <a:pt x="0" y="480"/>
                    <a:pt x="0" y="480"/>
                  </a:cubicBez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6436593" y="2649538"/>
              <a:ext cx="1460500" cy="2063750"/>
            </a:xfrm>
            <a:custGeom>
              <a:avLst/>
              <a:gdLst>
                <a:gd name="T0" fmla="*/ 0 w 920"/>
                <a:gd name="T1" fmla="*/ 0 h 1300"/>
                <a:gd name="T2" fmla="*/ 270 w 920"/>
                <a:gd name="T3" fmla="*/ 0 h 1300"/>
                <a:gd name="T4" fmla="*/ 270 w 920"/>
                <a:gd name="T5" fmla="*/ 692 h 1300"/>
                <a:gd name="T6" fmla="*/ 585 w 920"/>
                <a:gd name="T7" fmla="*/ 346 h 1300"/>
                <a:gd name="T8" fmla="*/ 908 w 920"/>
                <a:gd name="T9" fmla="*/ 346 h 1300"/>
                <a:gd name="T10" fmla="*/ 547 w 920"/>
                <a:gd name="T11" fmla="*/ 721 h 1300"/>
                <a:gd name="T12" fmla="*/ 920 w 920"/>
                <a:gd name="T13" fmla="*/ 1300 h 1300"/>
                <a:gd name="T14" fmla="*/ 609 w 920"/>
                <a:gd name="T15" fmla="*/ 1300 h 1300"/>
                <a:gd name="T16" fmla="*/ 365 w 920"/>
                <a:gd name="T17" fmla="*/ 909 h 1300"/>
                <a:gd name="T18" fmla="*/ 270 w 920"/>
                <a:gd name="T19" fmla="*/ 1010 h 1300"/>
                <a:gd name="T20" fmla="*/ 270 w 920"/>
                <a:gd name="T21" fmla="*/ 1300 h 1300"/>
                <a:gd name="T22" fmla="*/ 0 w 920"/>
                <a:gd name="T23" fmla="*/ 1300 h 1300"/>
                <a:gd name="T24" fmla="*/ 0 w 920"/>
                <a:gd name="T25" fmla="*/ 0 h 1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0" h="1300">
                  <a:moveTo>
                    <a:pt x="0" y="0"/>
                  </a:moveTo>
                  <a:lnTo>
                    <a:pt x="270" y="0"/>
                  </a:lnTo>
                  <a:lnTo>
                    <a:pt x="270" y="692"/>
                  </a:lnTo>
                  <a:lnTo>
                    <a:pt x="585" y="346"/>
                  </a:lnTo>
                  <a:lnTo>
                    <a:pt x="908" y="346"/>
                  </a:lnTo>
                  <a:lnTo>
                    <a:pt x="547" y="721"/>
                  </a:lnTo>
                  <a:lnTo>
                    <a:pt x="920" y="1300"/>
                  </a:lnTo>
                  <a:lnTo>
                    <a:pt x="609" y="1300"/>
                  </a:lnTo>
                  <a:lnTo>
                    <a:pt x="365" y="909"/>
                  </a:lnTo>
                  <a:lnTo>
                    <a:pt x="270" y="1010"/>
                  </a:lnTo>
                  <a:lnTo>
                    <a:pt x="270" y="1300"/>
                  </a:lnTo>
                  <a:lnTo>
                    <a:pt x="0" y="13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7919896" y="3173413"/>
              <a:ext cx="1227138" cy="1568450"/>
            </a:xfrm>
            <a:custGeom>
              <a:avLst/>
              <a:gdLst>
                <a:gd name="T0" fmla="*/ 0 w 383"/>
                <a:gd name="T1" fmla="*/ 417 h 488"/>
                <a:gd name="T2" fmla="*/ 57 w 383"/>
                <a:gd name="T3" fmla="*/ 329 h 488"/>
                <a:gd name="T4" fmla="*/ 206 w 383"/>
                <a:gd name="T5" fmla="*/ 385 h 488"/>
                <a:gd name="T6" fmla="*/ 262 w 383"/>
                <a:gd name="T7" fmla="*/ 350 h 488"/>
                <a:gd name="T8" fmla="*/ 262 w 383"/>
                <a:gd name="T9" fmla="*/ 348 h 488"/>
                <a:gd name="T10" fmla="*/ 165 w 383"/>
                <a:gd name="T11" fmla="*/ 294 h 488"/>
                <a:gd name="T12" fmla="*/ 24 w 383"/>
                <a:gd name="T13" fmla="*/ 152 h 488"/>
                <a:gd name="T14" fmla="*/ 24 w 383"/>
                <a:gd name="T15" fmla="*/ 150 h 488"/>
                <a:gd name="T16" fmla="*/ 196 w 383"/>
                <a:gd name="T17" fmla="*/ 0 h 488"/>
                <a:gd name="T18" fmla="*/ 372 w 383"/>
                <a:gd name="T19" fmla="*/ 55 h 488"/>
                <a:gd name="T20" fmla="*/ 321 w 383"/>
                <a:gd name="T21" fmla="*/ 147 h 488"/>
                <a:gd name="T22" fmla="*/ 194 w 383"/>
                <a:gd name="T23" fmla="*/ 103 h 488"/>
                <a:gd name="T24" fmla="*/ 144 w 383"/>
                <a:gd name="T25" fmla="*/ 136 h 488"/>
                <a:gd name="T26" fmla="*/ 144 w 383"/>
                <a:gd name="T27" fmla="*/ 138 h 488"/>
                <a:gd name="T28" fmla="*/ 240 w 383"/>
                <a:gd name="T29" fmla="*/ 194 h 488"/>
                <a:gd name="T30" fmla="*/ 383 w 383"/>
                <a:gd name="T31" fmla="*/ 334 h 488"/>
                <a:gd name="T32" fmla="*/ 383 w 383"/>
                <a:gd name="T33" fmla="*/ 336 h 488"/>
                <a:gd name="T34" fmla="*/ 203 w 383"/>
                <a:gd name="T35" fmla="*/ 488 h 488"/>
                <a:gd name="T36" fmla="*/ 0 w 383"/>
                <a:gd name="T37" fmla="*/ 417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3" h="488">
                  <a:moveTo>
                    <a:pt x="0" y="417"/>
                  </a:moveTo>
                  <a:cubicBezTo>
                    <a:pt x="57" y="329"/>
                    <a:pt x="57" y="329"/>
                    <a:pt x="57" y="329"/>
                  </a:cubicBezTo>
                  <a:cubicBezTo>
                    <a:pt x="108" y="366"/>
                    <a:pt x="162" y="385"/>
                    <a:pt x="206" y="385"/>
                  </a:cubicBezTo>
                  <a:cubicBezTo>
                    <a:pt x="245" y="385"/>
                    <a:pt x="262" y="371"/>
                    <a:pt x="262" y="350"/>
                  </a:cubicBezTo>
                  <a:cubicBezTo>
                    <a:pt x="262" y="348"/>
                    <a:pt x="262" y="348"/>
                    <a:pt x="262" y="348"/>
                  </a:cubicBezTo>
                  <a:cubicBezTo>
                    <a:pt x="262" y="319"/>
                    <a:pt x="217" y="309"/>
                    <a:pt x="165" y="294"/>
                  </a:cubicBezTo>
                  <a:cubicBezTo>
                    <a:pt x="99" y="274"/>
                    <a:pt x="24" y="243"/>
                    <a:pt x="24" y="152"/>
                  </a:cubicBezTo>
                  <a:cubicBezTo>
                    <a:pt x="24" y="150"/>
                    <a:pt x="24" y="150"/>
                    <a:pt x="24" y="150"/>
                  </a:cubicBezTo>
                  <a:cubicBezTo>
                    <a:pt x="24" y="54"/>
                    <a:pt x="101" y="0"/>
                    <a:pt x="196" y="0"/>
                  </a:cubicBezTo>
                  <a:cubicBezTo>
                    <a:pt x="256" y="0"/>
                    <a:pt x="321" y="21"/>
                    <a:pt x="372" y="55"/>
                  </a:cubicBezTo>
                  <a:cubicBezTo>
                    <a:pt x="321" y="147"/>
                    <a:pt x="321" y="147"/>
                    <a:pt x="321" y="147"/>
                  </a:cubicBezTo>
                  <a:cubicBezTo>
                    <a:pt x="275" y="120"/>
                    <a:pt x="228" y="103"/>
                    <a:pt x="194" y="103"/>
                  </a:cubicBezTo>
                  <a:cubicBezTo>
                    <a:pt x="161" y="103"/>
                    <a:pt x="144" y="118"/>
                    <a:pt x="144" y="136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64"/>
                    <a:pt x="189" y="176"/>
                    <a:pt x="240" y="194"/>
                  </a:cubicBezTo>
                  <a:cubicBezTo>
                    <a:pt x="306" y="216"/>
                    <a:pt x="383" y="248"/>
                    <a:pt x="383" y="334"/>
                  </a:cubicBezTo>
                  <a:cubicBezTo>
                    <a:pt x="383" y="336"/>
                    <a:pt x="383" y="336"/>
                    <a:pt x="383" y="336"/>
                  </a:cubicBezTo>
                  <a:cubicBezTo>
                    <a:pt x="383" y="440"/>
                    <a:pt x="305" y="488"/>
                    <a:pt x="203" y="488"/>
                  </a:cubicBezTo>
                  <a:cubicBezTo>
                    <a:pt x="137" y="488"/>
                    <a:pt x="63" y="466"/>
                    <a:pt x="0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6" name="Oval 11"/>
            <p:cNvSpPr>
              <a:spLocks noChangeArrowheads="1"/>
            </p:cNvSpPr>
            <p:nvPr userDrawn="1"/>
          </p:nvSpPr>
          <p:spPr bwMode="auto">
            <a:xfrm>
              <a:off x="9282260" y="4167188"/>
              <a:ext cx="544513" cy="5461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217900D-5033-4638-8DF2-07DE57B5B97E}"/>
              </a:ext>
            </a:extLst>
          </p:cNvPr>
          <p:cNvGrpSpPr/>
          <p:nvPr userDrawn="1"/>
        </p:nvGrpSpPr>
        <p:grpSpPr>
          <a:xfrm>
            <a:off x="7047165" y="12319998"/>
            <a:ext cx="5146427" cy="25759974"/>
            <a:chOff x="7045325" y="1676401"/>
            <a:chExt cx="5145087" cy="3505200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42A022AC-236A-4C47-9960-6BBBDE197CD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45325" y="1676401"/>
              <a:ext cx="5145087" cy="3505200"/>
            </a:xfrm>
            <a:custGeom>
              <a:avLst/>
              <a:gdLst>
                <a:gd name="T0" fmla="*/ 717 w 2697"/>
                <a:gd name="T1" fmla="*/ 241 h 1832"/>
                <a:gd name="T2" fmla="*/ 698 w 2697"/>
                <a:gd name="T3" fmla="*/ 358 h 1832"/>
                <a:gd name="T4" fmla="*/ 755 w 2697"/>
                <a:gd name="T5" fmla="*/ 353 h 1832"/>
                <a:gd name="T6" fmla="*/ 952 w 2697"/>
                <a:gd name="T7" fmla="*/ 431 h 1832"/>
                <a:gd name="T8" fmla="*/ 1077 w 2697"/>
                <a:gd name="T9" fmla="*/ 299 h 1832"/>
                <a:gd name="T10" fmla="*/ 769 w 2697"/>
                <a:gd name="T11" fmla="*/ 229 h 1832"/>
                <a:gd name="T12" fmla="*/ 1219 w 2697"/>
                <a:gd name="T13" fmla="*/ 431 h 1832"/>
                <a:gd name="T14" fmla="*/ 1120 w 2697"/>
                <a:gd name="T15" fmla="*/ 287 h 1832"/>
                <a:gd name="T16" fmla="*/ 1089 w 2697"/>
                <a:gd name="T17" fmla="*/ 373 h 1832"/>
                <a:gd name="T18" fmla="*/ 1175 w 2697"/>
                <a:gd name="T19" fmla="*/ 395 h 1832"/>
                <a:gd name="T20" fmla="*/ 1412 w 2697"/>
                <a:gd name="T21" fmla="*/ 225 h 1832"/>
                <a:gd name="T22" fmla="*/ 1348 w 2697"/>
                <a:gd name="T23" fmla="*/ 356 h 1832"/>
                <a:gd name="T24" fmla="*/ 1505 w 2697"/>
                <a:gd name="T25" fmla="*/ 364 h 1832"/>
                <a:gd name="T26" fmla="*/ 1448 w 2697"/>
                <a:gd name="T27" fmla="*/ 177 h 1832"/>
                <a:gd name="T28" fmla="*/ 1666 w 2697"/>
                <a:gd name="T29" fmla="*/ 435 h 1832"/>
                <a:gd name="T30" fmla="*/ 1758 w 2697"/>
                <a:gd name="T31" fmla="*/ 335 h 1832"/>
                <a:gd name="T32" fmla="*/ 1703 w 2697"/>
                <a:gd name="T33" fmla="*/ 314 h 1832"/>
                <a:gd name="T34" fmla="*/ 1892 w 2697"/>
                <a:gd name="T35" fmla="*/ 225 h 1832"/>
                <a:gd name="T36" fmla="*/ 1828 w 2697"/>
                <a:gd name="T37" fmla="*/ 356 h 1832"/>
                <a:gd name="T38" fmla="*/ 24 w 2697"/>
                <a:gd name="T39" fmla="*/ 634 h 1832"/>
                <a:gd name="T40" fmla="*/ 81 w 2697"/>
                <a:gd name="T41" fmla="*/ 720 h 1832"/>
                <a:gd name="T42" fmla="*/ 237 w 2697"/>
                <a:gd name="T43" fmla="*/ 581 h 1832"/>
                <a:gd name="T44" fmla="*/ 243 w 2697"/>
                <a:gd name="T45" fmla="*/ 745 h 1832"/>
                <a:gd name="T46" fmla="*/ 237 w 2697"/>
                <a:gd name="T47" fmla="*/ 627 h 1832"/>
                <a:gd name="T48" fmla="*/ 450 w 2697"/>
                <a:gd name="T49" fmla="*/ 631 h 1832"/>
                <a:gd name="T50" fmla="*/ 449 w 2697"/>
                <a:gd name="T51" fmla="*/ 791 h 1832"/>
                <a:gd name="T52" fmla="*/ 598 w 2697"/>
                <a:gd name="T53" fmla="*/ 512 h 1832"/>
                <a:gd name="T54" fmla="*/ 669 w 2697"/>
                <a:gd name="T55" fmla="*/ 674 h 1832"/>
                <a:gd name="T56" fmla="*/ 798 w 2697"/>
                <a:gd name="T57" fmla="*/ 614 h 1832"/>
                <a:gd name="T58" fmla="*/ 833 w 2697"/>
                <a:gd name="T59" fmla="*/ 633 h 1832"/>
                <a:gd name="T60" fmla="*/ 1155 w 2697"/>
                <a:gd name="T61" fmla="*/ 686 h 1832"/>
                <a:gd name="T62" fmla="*/ 1155 w 2697"/>
                <a:gd name="T63" fmla="*/ 686 h 1832"/>
                <a:gd name="T64" fmla="*/ 1047 w 2697"/>
                <a:gd name="T65" fmla="*/ 742 h 1832"/>
                <a:gd name="T66" fmla="*/ 1167 w 2697"/>
                <a:gd name="T67" fmla="*/ 787 h 1832"/>
                <a:gd name="T68" fmla="*/ 1453 w 2697"/>
                <a:gd name="T69" fmla="*/ 686 h 1832"/>
                <a:gd name="T70" fmla="*/ 1344 w 2697"/>
                <a:gd name="T71" fmla="*/ 631 h 1832"/>
                <a:gd name="T72" fmla="*/ 1562 w 2697"/>
                <a:gd name="T73" fmla="*/ 848 h 1832"/>
                <a:gd name="T74" fmla="*/ 1552 w 2697"/>
                <a:gd name="T75" fmla="*/ 581 h 1832"/>
                <a:gd name="T76" fmla="*/ 1560 w 2697"/>
                <a:gd name="T77" fmla="*/ 802 h 1832"/>
                <a:gd name="T78" fmla="*/ 1618 w 2697"/>
                <a:gd name="T79" fmla="*/ 676 h 1832"/>
                <a:gd name="T80" fmla="*/ 1743 w 2697"/>
                <a:gd name="T81" fmla="*/ 801 h 1832"/>
                <a:gd name="T82" fmla="*/ 1834 w 2697"/>
                <a:gd name="T83" fmla="*/ 585 h 1832"/>
                <a:gd name="T84" fmla="*/ 1101 w 2697"/>
                <a:gd name="T85" fmla="*/ 940 h 1832"/>
                <a:gd name="T86" fmla="*/ 974 w 2697"/>
                <a:gd name="T87" fmla="*/ 965 h 1832"/>
                <a:gd name="T88" fmla="*/ 1101 w 2697"/>
                <a:gd name="T89" fmla="*/ 1012 h 1832"/>
                <a:gd name="T90" fmla="*/ 1318 w 2697"/>
                <a:gd name="T91" fmla="*/ 1064 h 1832"/>
                <a:gd name="T92" fmla="*/ 1156 w 2697"/>
                <a:gd name="T93" fmla="*/ 1063 h 1832"/>
                <a:gd name="T94" fmla="*/ 1332 w 2697"/>
                <a:gd name="T95" fmla="*/ 963 h 1832"/>
                <a:gd name="T96" fmla="*/ 1453 w 2697"/>
                <a:gd name="T97" fmla="*/ 959 h 1832"/>
                <a:gd name="T98" fmla="*/ 1657 w 2697"/>
                <a:gd name="T99" fmla="*/ 1046 h 1832"/>
                <a:gd name="T100" fmla="*/ 1657 w 2697"/>
                <a:gd name="T101" fmla="*/ 1143 h 1832"/>
                <a:gd name="T102" fmla="*/ 1658 w 2697"/>
                <a:gd name="T103" fmla="*/ 1094 h 1832"/>
                <a:gd name="T104" fmla="*/ 1658 w 2697"/>
                <a:gd name="T105" fmla="*/ 1094 h 1832"/>
                <a:gd name="T106" fmla="*/ 1817 w 2697"/>
                <a:gd name="T107" fmla="*/ 1165 h 1832"/>
                <a:gd name="T108" fmla="*/ 2086 w 2697"/>
                <a:gd name="T109" fmla="*/ 1832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97" h="1832">
                  <a:moveTo>
                    <a:pt x="755" y="352"/>
                  </a:moveTo>
                  <a:cubicBezTo>
                    <a:pt x="755" y="306"/>
                    <a:pt x="725" y="287"/>
                    <a:pt x="672" y="273"/>
                  </a:cubicBezTo>
                  <a:cubicBezTo>
                    <a:pt x="626" y="261"/>
                    <a:pt x="615" y="256"/>
                    <a:pt x="615" y="238"/>
                  </a:cubicBezTo>
                  <a:cubicBezTo>
                    <a:pt x="615" y="238"/>
                    <a:pt x="615" y="238"/>
                    <a:pt x="615" y="238"/>
                  </a:cubicBezTo>
                  <a:cubicBezTo>
                    <a:pt x="615" y="225"/>
                    <a:pt x="626" y="215"/>
                    <a:pt x="649" y="215"/>
                  </a:cubicBezTo>
                  <a:cubicBezTo>
                    <a:pt x="671" y="215"/>
                    <a:pt x="694" y="224"/>
                    <a:pt x="717" y="241"/>
                  </a:cubicBezTo>
                  <a:cubicBezTo>
                    <a:pt x="747" y="197"/>
                    <a:pt x="747" y="197"/>
                    <a:pt x="747" y="197"/>
                  </a:cubicBezTo>
                  <a:cubicBezTo>
                    <a:pt x="720" y="175"/>
                    <a:pt x="688" y="163"/>
                    <a:pt x="649" y="163"/>
                  </a:cubicBezTo>
                  <a:cubicBezTo>
                    <a:pt x="595" y="163"/>
                    <a:pt x="557" y="195"/>
                    <a:pt x="557" y="243"/>
                  </a:cubicBezTo>
                  <a:cubicBezTo>
                    <a:pt x="557" y="244"/>
                    <a:pt x="557" y="244"/>
                    <a:pt x="557" y="244"/>
                  </a:cubicBezTo>
                  <a:cubicBezTo>
                    <a:pt x="557" y="296"/>
                    <a:pt x="591" y="311"/>
                    <a:pt x="644" y="324"/>
                  </a:cubicBezTo>
                  <a:cubicBezTo>
                    <a:pt x="688" y="335"/>
                    <a:pt x="698" y="343"/>
                    <a:pt x="698" y="358"/>
                  </a:cubicBezTo>
                  <a:cubicBezTo>
                    <a:pt x="698" y="358"/>
                    <a:pt x="698" y="358"/>
                    <a:pt x="698" y="358"/>
                  </a:cubicBezTo>
                  <a:cubicBezTo>
                    <a:pt x="698" y="374"/>
                    <a:pt x="683" y="383"/>
                    <a:pt x="659" y="383"/>
                  </a:cubicBezTo>
                  <a:cubicBezTo>
                    <a:pt x="629" y="383"/>
                    <a:pt x="605" y="371"/>
                    <a:pt x="581" y="351"/>
                  </a:cubicBezTo>
                  <a:cubicBezTo>
                    <a:pt x="547" y="392"/>
                    <a:pt x="547" y="392"/>
                    <a:pt x="547" y="392"/>
                  </a:cubicBezTo>
                  <a:cubicBezTo>
                    <a:pt x="578" y="421"/>
                    <a:pt x="618" y="435"/>
                    <a:pt x="658" y="435"/>
                  </a:cubicBezTo>
                  <a:cubicBezTo>
                    <a:pt x="715" y="435"/>
                    <a:pt x="755" y="405"/>
                    <a:pt x="755" y="353"/>
                  </a:cubicBezTo>
                  <a:lnTo>
                    <a:pt x="755" y="352"/>
                  </a:lnTo>
                  <a:close/>
                  <a:moveTo>
                    <a:pt x="826" y="318"/>
                  </a:moveTo>
                  <a:cubicBezTo>
                    <a:pt x="826" y="291"/>
                    <a:pt x="839" y="277"/>
                    <a:pt x="861" y="277"/>
                  </a:cubicBezTo>
                  <a:cubicBezTo>
                    <a:pt x="882" y="277"/>
                    <a:pt x="894" y="291"/>
                    <a:pt x="894" y="318"/>
                  </a:cubicBezTo>
                  <a:cubicBezTo>
                    <a:pt x="894" y="431"/>
                    <a:pt x="894" y="431"/>
                    <a:pt x="894" y="431"/>
                  </a:cubicBezTo>
                  <a:cubicBezTo>
                    <a:pt x="952" y="431"/>
                    <a:pt x="952" y="431"/>
                    <a:pt x="952" y="431"/>
                  </a:cubicBezTo>
                  <a:cubicBezTo>
                    <a:pt x="952" y="318"/>
                    <a:pt x="952" y="318"/>
                    <a:pt x="952" y="318"/>
                  </a:cubicBezTo>
                  <a:cubicBezTo>
                    <a:pt x="952" y="291"/>
                    <a:pt x="965" y="277"/>
                    <a:pt x="986" y="277"/>
                  </a:cubicBezTo>
                  <a:cubicBezTo>
                    <a:pt x="1008" y="277"/>
                    <a:pt x="1020" y="291"/>
                    <a:pt x="1020" y="318"/>
                  </a:cubicBezTo>
                  <a:cubicBezTo>
                    <a:pt x="1020" y="431"/>
                    <a:pt x="1020" y="431"/>
                    <a:pt x="1020" y="431"/>
                  </a:cubicBezTo>
                  <a:cubicBezTo>
                    <a:pt x="1077" y="431"/>
                    <a:pt x="1077" y="431"/>
                    <a:pt x="1077" y="431"/>
                  </a:cubicBezTo>
                  <a:cubicBezTo>
                    <a:pt x="1077" y="299"/>
                    <a:pt x="1077" y="299"/>
                    <a:pt x="1077" y="299"/>
                  </a:cubicBezTo>
                  <a:cubicBezTo>
                    <a:pt x="1077" y="251"/>
                    <a:pt x="1051" y="225"/>
                    <a:pt x="1009" y="225"/>
                  </a:cubicBezTo>
                  <a:cubicBezTo>
                    <a:pt x="981" y="225"/>
                    <a:pt x="960" y="236"/>
                    <a:pt x="943" y="257"/>
                  </a:cubicBezTo>
                  <a:cubicBezTo>
                    <a:pt x="932" y="237"/>
                    <a:pt x="912" y="225"/>
                    <a:pt x="886" y="225"/>
                  </a:cubicBezTo>
                  <a:cubicBezTo>
                    <a:pt x="857" y="225"/>
                    <a:pt x="839" y="241"/>
                    <a:pt x="826" y="258"/>
                  </a:cubicBezTo>
                  <a:cubicBezTo>
                    <a:pt x="826" y="229"/>
                    <a:pt x="826" y="229"/>
                    <a:pt x="826" y="229"/>
                  </a:cubicBezTo>
                  <a:cubicBezTo>
                    <a:pt x="769" y="229"/>
                    <a:pt x="769" y="229"/>
                    <a:pt x="769" y="229"/>
                  </a:cubicBezTo>
                  <a:cubicBezTo>
                    <a:pt x="769" y="431"/>
                    <a:pt x="769" y="431"/>
                    <a:pt x="769" y="431"/>
                  </a:cubicBezTo>
                  <a:cubicBezTo>
                    <a:pt x="826" y="431"/>
                    <a:pt x="826" y="431"/>
                    <a:pt x="826" y="431"/>
                  </a:cubicBezTo>
                  <a:lnTo>
                    <a:pt x="826" y="318"/>
                  </a:lnTo>
                  <a:close/>
                  <a:moveTo>
                    <a:pt x="1158" y="435"/>
                  </a:moveTo>
                  <a:cubicBezTo>
                    <a:pt x="1186" y="435"/>
                    <a:pt x="1205" y="424"/>
                    <a:pt x="1219" y="409"/>
                  </a:cubicBezTo>
                  <a:cubicBezTo>
                    <a:pt x="1219" y="431"/>
                    <a:pt x="1219" y="431"/>
                    <a:pt x="1219" y="431"/>
                  </a:cubicBezTo>
                  <a:cubicBezTo>
                    <a:pt x="1274" y="431"/>
                    <a:pt x="1274" y="431"/>
                    <a:pt x="1274" y="431"/>
                  </a:cubicBezTo>
                  <a:cubicBezTo>
                    <a:pt x="1274" y="314"/>
                    <a:pt x="1274" y="314"/>
                    <a:pt x="1274" y="314"/>
                  </a:cubicBezTo>
                  <a:cubicBezTo>
                    <a:pt x="1274" y="287"/>
                    <a:pt x="1268" y="264"/>
                    <a:pt x="1253" y="249"/>
                  </a:cubicBezTo>
                  <a:cubicBezTo>
                    <a:pt x="1238" y="235"/>
                    <a:pt x="1216" y="227"/>
                    <a:pt x="1184" y="227"/>
                  </a:cubicBezTo>
                  <a:cubicBezTo>
                    <a:pt x="1150" y="227"/>
                    <a:pt x="1128" y="233"/>
                    <a:pt x="1106" y="243"/>
                  </a:cubicBezTo>
                  <a:cubicBezTo>
                    <a:pt x="1120" y="287"/>
                    <a:pt x="1120" y="287"/>
                    <a:pt x="1120" y="287"/>
                  </a:cubicBezTo>
                  <a:cubicBezTo>
                    <a:pt x="1139" y="280"/>
                    <a:pt x="1154" y="276"/>
                    <a:pt x="1176" y="276"/>
                  </a:cubicBezTo>
                  <a:cubicBezTo>
                    <a:pt x="1205" y="276"/>
                    <a:pt x="1219" y="289"/>
                    <a:pt x="1219" y="313"/>
                  </a:cubicBezTo>
                  <a:cubicBezTo>
                    <a:pt x="1219" y="316"/>
                    <a:pt x="1219" y="316"/>
                    <a:pt x="1219" y="316"/>
                  </a:cubicBezTo>
                  <a:cubicBezTo>
                    <a:pt x="1205" y="311"/>
                    <a:pt x="1190" y="308"/>
                    <a:pt x="1170" y="308"/>
                  </a:cubicBezTo>
                  <a:cubicBezTo>
                    <a:pt x="1122" y="308"/>
                    <a:pt x="1089" y="328"/>
                    <a:pt x="1089" y="372"/>
                  </a:cubicBezTo>
                  <a:cubicBezTo>
                    <a:pt x="1089" y="373"/>
                    <a:pt x="1089" y="373"/>
                    <a:pt x="1089" y="373"/>
                  </a:cubicBezTo>
                  <a:cubicBezTo>
                    <a:pt x="1089" y="413"/>
                    <a:pt x="1120" y="435"/>
                    <a:pt x="1158" y="435"/>
                  </a:cubicBezTo>
                  <a:close/>
                  <a:moveTo>
                    <a:pt x="1144" y="370"/>
                  </a:moveTo>
                  <a:cubicBezTo>
                    <a:pt x="1144" y="352"/>
                    <a:pt x="1159" y="342"/>
                    <a:pt x="1184" y="342"/>
                  </a:cubicBezTo>
                  <a:cubicBezTo>
                    <a:pt x="1198" y="342"/>
                    <a:pt x="1210" y="345"/>
                    <a:pt x="1220" y="349"/>
                  </a:cubicBezTo>
                  <a:cubicBezTo>
                    <a:pt x="1220" y="360"/>
                    <a:pt x="1220" y="360"/>
                    <a:pt x="1220" y="360"/>
                  </a:cubicBezTo>
                  <a:cubicBezTo>
                    <a:pt x="1220" y="380"/>
                    <a:pt x="1202" y="395"/>
                    <a:pt x="1175" y="395"/>
                  </a:cubicBezTo>
                  <a:cubicBezTo>
                    <a:pt x="1157" y="395"/>
                    <a:pt x="1144" y="386"/>
                    <a:pt x="1144" y="371"/>
                  </a:cubicBezTo>
                  <a:lnTo>
                    <a:pt x="1144" y="370"/>
                  </a:lnTo>
                  <a:close/>
                  <a:moveTo>
                    <a:pt x="1348" y="356"/>
                  </a:moveTo>
                  <a:cubicBezTo>
                    <a:pt x="1348" y="308"/>
                    <a:pt x="1371" y="285"/>
                    <a:pt x="1409" y="285"/>
                  </a:cubicBezTo>
                  <a:cubicBezTo>
                    <a:pt x="1412" y="285"/>
                    <a:pt x="1412" y="285"/>
                    <a:pt x="1412" y="28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378" y="224"/>
                    <a:pt x="1360" y="242"/>
                    <a:pt x="1348" y="270"/>
                  </a:cubicBezTo>
                  <a:cubicBezTo>
                    <a:pt x="1348" y="229"/>
                    <a:pt x="1348" y="229"/>
                    <a:pt x="1348" y="229"/>
                  </a:cubicBezTo>
                  <a:cubicBezTo>
                    <a:pt x="1291" y="229"/>
                    <a:pt x="1291" y="229"/>
                    <a:pt x="1291" y="229"/>
                  </a:cubicBezTo>
                  <a:cubicBezTo>
                    <a:pt x="1291" y="431"/>
                    <a:pt x="1291" y="431"/>
                    <a:pt x="1291" y="431"/>
                  </a:cubicBezTo>
                  <a:cubicBezTo>
                    <a:pt x="1348" y="431"/>
                    <a:pt x="1348" y="431"/>
                    <a:pt x="1348" y="431"/>
                  </a:cubicBezTo>
                  <a:lnTo>
                    <a:pt x="1348" y="356"/>
                  </a:lnTo>
                  <a:close/>
                  <a:moveTo>
                    <a:pt x="1448" y="374"/>
                  </a:moveTo>
                  <a:cubicBezTo>
                    <a:pt x="1448" y="420"/>
                    <a:pt x="1472" y="434"/>
                    <a:pt x="1507" y="434"/>
                  </a:cubicBezTo>
                  <a:cubicBezTo>
                    <a:pt x="1526" y="434"/>
                    <a:pt x="1540" y="430"/>
                    <a:pt x="1552" y="422"/>
                  </a:cubicBezTo>
                  <a:cubicBezTo>
                    <a:pt x="1552" y="377"/>
                    <a:pt x="1552" y="377"/>
                    <a:pt x="1552" y="377"/>
                  </a:cubicBezTo>
                  <a:cubicBezTo>
                    <a:pt x="1543" y="381"/>
                    <a:pt x="1534" y="384"/>
                    <a:pt x="1524" y="384"/>
                  </a:cubicBezTo>
                  <a:cubicBezTo>
                    <a:pt x="1511" y="384"/>
                    <a:pt x="1505" y="377"/>
                    <a:pt x="1505" y="364"/>
                  </a:cubicBezTo>
                  <a:cubicBezTo>
                    <a:pt x="1505" y="278"/>
                    <a:pt x="1505" y="278"/>
                    <a:pt x="1505" y="278"/>
                  </a:cubicBezTo>
                  <a:cubicBezTo>
                    <a:pt x="1553" y="278"/>
                    <a:pt x="1553" y="278"/>
                    <a:pt x="1553" y="278"/>
                  </a:cubicBezTo>
                  <a:cubicBezTo>
                    <a:pt x="1553" y="229"/>
                    <a:pt x="1553" y="229"/>
                    <a:pt x="1553" y="229"/>
                  </a:cubicBezTo>
                  <a:cubicBezTo>
                    <a:pt x="1505" y="229"/>
                    <a:pt x="1505" y="229"/>
                    <a:pt x="1505" y="229"/>
                  </a:cubicBezTo>
                  <a:cubicBezTo>
                    <a:pt x="1505" y="177"/>
                    <a:pt x="1505" y="177"/>
                    <a:pt x="1505" y="177"/>
                  </a:cubicBezTo>
                  <a:cubicBezTo>
                    <a:pt x="1448" y="177"/>
                    <a:pt x="1448" y="177"/>
                    <a:pt x="1448" y="177"/>
                  </a:cubicBezTo>
                  <a:cubicBezTo>
                    <a:pt x="1448" y="229"/>
                    <a:pt x="1448" y="229"/>
                    <a:pt x="1448" y="229"/>
                  </a:cubicBezTo>
                  <a:cubicBezTo>
                    <a:pt x="1424" y="229"/>
                    <a:pt x="1424" y="229"/>
                    <a:pt x="1424" y="229"/>
                  </a:cubicBezTo>
                  <a:cubicBezTo>
                    <a:pt x="1424" y="278"/>
                    <a:pt x="1424" y="278"/>
                    <a:pt x="1424" y="278"/>
                  </a:cubicBezTo>
                  <a:cubicBezTo>
                    <a:pt x="1448" y="278"/>
                    <a:pt x="1448" y="278"/>
                    <a:pt x="1448" y="278"/>
                  </a:cubicBezTo>
                  <a:lnTo>
                    <a:pt x="1448" y="374"/>
                  </a:lnTo>
                  <a:close/>
                  <a:moveTo>
                    <a:pt x="1666" y="435"/>
                  </a:moveTo>
                  <a:cubicBezTo>
                    <a:pt x="1702" y="435"/>
                    <a:pt x="1729" y="421"/>
                    <a:pt x="1748" y="398"/>
                  </a:cubicBezTo>
                  <a:cubicBezTo>
                    <a:pt x="1715" y="369"/>
                    <a:pt x="1715" y="369"/>
                    <a:pt x="1715" y="369"/>
                  </a:cubicBezTo>
                  <a:cubicBezTo>
                    <a:pt x="1700" y="383"/>
                    <a:pt x="1686" y="389"/>
                    <a:pt x="1666" y="389"/>
                  </a:cubicBezTo>
                  <a:cubicBezTo>
                    <a:pt x="1641" y="389"/>
                    <a:pt x="1623" y="376"/>
                    <a:pt x="1617" y="350"/>
                  </a:cubicBezTo>
                  <a:cubicBezTo>
                    <a:pt x="1758" y="350"/>
                    <a:pt x="1758" y="350"/>
                    <a:pt x="1758" y="350"/>
                  </a:cubicBezTo>
                  <a:cubicBezTo>
                    <a:pt x="1758" y="345"/>
                    <a:pt x="1758" y="339"/>
                    <a:pt x="1758" y="335"/>
                  </a:cubicBezTo>
                  <a:cubicBezTo>
                    <a:pt x="1758" y="277"/>
                    <a:pt x="1727" y="225"/>
                    <a:pt x="1660" y="225"/>
                  </a:cubicBezTo>
                  <a:cubicBezTo>
                    <a:pt x="1601" y="225"/>
                    <a:pt x="1560" y="273"/>
                    <a:pt x="1560" y="330"/>
                  </a:cubicBezTo>
                  <a:cubicBezTo>
                    <a:pt x="1560" y="331"/>
                    <a:pt x="1560" y="331"/>
                    <a:pt x="1560" y="331"/>
                  </a:cubicBezTo>
                  <a:cubicBezTo>
                    <a:pt x="1560" y="393"/>
                    <a:pt x="1605" y="435"/>
                    <a:pt x="1666" y="435"/>
                  </a:cubicBezTo>
                  <a:close/>
                  <a:moveTo>
                    <a:pt x="1660" y="271"/>
                  </a:moveTo>
                  <a:cubicBezTo>
                    <a:pt x="1684" y="271"/>
                    <a:pt x="1699" y="288"/>
                    <a:pt x="1703" y="314"/>
                  </a:cubicBezTo>
                  <a:cubicBezTo>
                    <a:pt x="1616" y="314"/>
                    <a:pt x="1616" y="314"/>
                    <a:pt x="1616" y="314"/>
                  </a:cubicBezTo>
                  <a:cubicBezTo>
                    <a:pt x="1621" y="288"/>
                    <a:pt x="1636" y="271"/>
                    <a:pt x="1660" y="271"/>
                  </a:cubicBezTo>
                  <a:close/>
                  <a:moveTo>
                    <a:pt x="1828" y="356"/>
                  </a:moveTo>
                  <a:cubicBezTo>
                    <a:pt x="1828" y="308"/>
                    <a:pt x="1851" y="285"/>
                    <a:pt x="1889" y="285"/>
                  </a:cubicBezTo>
                  <a:cubicBezTo>
                    <a:pt x="1892" y="285"/>
                    <a:pt x="1892" y="285"/>
                    <a:pt x="1892" y="285"/>
                  </a:cubicBezTo>
                  <a:cubicBezTo>
                    <a:pt x="1892" y="225"/>
                    <a:pt x="1892" y="225"/>
                    <a:pt x="1892" y="225"/>
                  </a:cubicBezTo>
                  <a:cubicBezTo>
                    <a:pt x="1858" y="224"/>
                    <a:pt x="1839" y="242"/>
                    <a:pt x="1828" y="270"/>
                  </a:cubicBezTo>
                  <a:cubicBezTo>
                    <a:pt x="1828" y="229"/>
                    <a:pt x="1828" y="229"/>
                    <a:pt x="1828" y="229"/>
                  </a:cubicBezTo>
                  <a:cubicBezTo>
                    <a:pt x="1770" y="229"/>
                    <a:pt x="1770" y="229"/>
                    <a:pt x="1770" y="229"/>
                  </a:cubicBezTo>
                  <a:cubicBezTo>
                    <a:pt x="1770" y="431"/>
                    <a:pt x="1770" y="431"/>
                    <a:pt x="1770" y="431"/>
                  </a:cubicBezTo>
                  <a:cubicBezTo>
                    <a:pt x="1828" y="431"/>
                    <a:pt x="1828" y="431"/>
                    <a:pt x="1828" y="431"/>
                  </a:cubicBezTo>
                  <a:lnTo>
                    <a:pt x="1828" y="356"/>
                  </a:lnTo>
                  <a:close/>
                  <a:moveTo>
                    <a:pt x="81" y="533"/>
                  </a:moveTo>
                  <a:cubicBezTo>
                    <a:pt x="24" y="533"/>
                    <a:pt x="24" y="533"/>
                    <a:pt x="24" y="533"/>
                  </a:cubicBezTo>
                  <a:cubicBezTo>
                    <a:pt x="24" y="585"/>
                    <a:pt x="24" y="585"/>
                    <a:pt x="24" y="585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0" y="634"/>
                    <a:pt x="0" y="634"/>
                    <a:pt x="0" y="634"/>
                  </a:cubicBezTo>
                  <a:cubicBezTo>
                    <a:pt x="24" y="634"/>
                    <a:pt x="24" y="634"/>
                    <a:pt x="24" y="634"/>
                  </a:cubicBezTo>
                  <a:cubicBezTo>
                    <a:pt x="24" y="730"/>
                    <a:pt x="24" y="730"/>
                    <a:pt x="24" y="730"/>
                  </a:cubicBezTo>
                  <a:cubicBezTo>
                    <a:pt x="24" y="776"/>
                    <a:pt x="48" y="790"/>
                    <a:pt x="83" y="790"/>
                  </a:cubicBezTo>
                  <a:cubicBezTo>
                    <a:pt x="102" y="790"/>
                    <a:pt x="116" y="786"/>
                    <a:pt x="128" y="779"/>
                  </a:cubicBezTo>
                  <a:cubicBezTo>
                    <a:pt x="128" y="733"/>
                    <a:pt x="128" y="733"/>
                    <a:pt x="128" y="733"/>
                  </a:cubicBezTo>
                  <a:cubicBezTo>
                    <a:pt x="120" y="737"/>
                    <a:pt x="110" y="740"/>
                    <a:pt x="100" y="740"/>
                  </a:cubicBezTo>
                  <a:cubicBezTo>
                    <a:pt x="87" y="740"/>
                    <a:pt x="81" y="733"/>
                    <a:pt x="81" y="720"/>
                  </a:cubicBezTo>
                  <a:cubicBezTo>
                    <a:pt x="81" y="634"/>
                    <a:pt x="81" y="634"/>
                    <a:pt x="81" y="634"/>
                  </a:cubicBezTo>
                  <a:cubicBezTo>
                    <a:pt x="129" y="634"/>
                    <a:pt x="129" y="634"/>
                    <a:pt x="129" y="634"/>
                  </a:cubicBezTo>
                  <a:cubicBezTo>
                    <a:pt x="129" y="585"/>
                    <a:pt x="129" y="585"/>
                    <a:pt x="129" y="585"/>
                  </a:cubicBezTo>
                  <a:cubicBezTo>
                    <a:pt x="81" y="585"/>
                    <a:pt x="81" y="585"/>
                    <a:pt x="81" y="585"/>
                  </a:cubicBezTo>
                  <a:lnTo>
                    <a:pt x="81" y="533"/>
                  </a:lnTo>
                  <a:close/>
                  <a:moveTo>
                    <a:pt x="237" y="581"/>
                  </a:moveTo>
                  <a:cubicBezTo>
                    <a:pt x="178" y="581"/>
                    <a:pt x="137" y="629"/>
                    <a:pt x="137" y="686"/>
                  </a:cubicBezTo>
                  <a:cubicBezTo>
                    <a:pt x="137" y="687"/>
                    <a:pt x="137" y="687"/>
                    <a:pt x="137" y="687"/>
                  </a:cubicBezTo>
                  <a:cubicBezTo>
                    <a:pt x="137" y="749"/>
                    <a:pt x="182" y="791"/>
                    <a:pt x="243" y="791"/>
                  </a:cubicBezTo>
                  <a:cubicBezTo>
                    <a:pt x="279" y="791"/>
                    <a:pt x="306" y="777"/>
                    <a:pt x="325" y="754"/>
                  </a:cubicBezTo>
                  <a:cubicBezTo>
                    <a:pt x="292" y="725"/>
                    <a:pt x="292" y="725"/>
                    <a:pt x="292" y="725"/>
                  </a:cubicBezTo>
                  <a:cubicBezTo>
                    <a:pt x="277" y="739"/>
                    <a:pt x="263" y="745"/>
                    <a:pt x="243" y="745"/>
                  </a:cubicBezTo>
                  <a:cubicBezTo>
                    <a:pt x="218" y="745"/>
                    <a:pt x="200" y="732"/>
                    <a:pt x="194" y="706"/>
                  </a:cubicBezTo>
                  <a:cubicBezTo>
                    <a:pt x="335" y="706"/>
                    <a:pt x="335" y="706"/>
                    <a:pt x="335" y="706"/>
                  </a:cubicBezTo>
                  <a:cubicBezTo>
                    <a:pt x="335" y="701"/>
                    <a:pt x="335" y="695"/>
                    <a:pt x="335" y="691"/>
                  </a:cubicBezTo>
                  <a:cubicBezTo>
                    <a:pt x="335" y="634"/>
                    <a:pt x="304" y="581"/>
                    <a:pt x="237" y="581"/>
                  </a:cubicBezTo>
                  <a:close/>
                  <a:moveTo>
                    <a:pt x="193" y="670"/>
                  </a:moveTo>
                  <a:cubicBezTo>
                    <a:pt x="198" y="644"/>
                    <a:pt x="213" y="627"/>
                    <a:pt x="237" y="627"/>
                  </a:cubicBezTo>
                  <a:cubicBezTo>
                    <a:pt x="261" y="627"/>
                    <a:pt x="276" y="644"/>
                    <a:pt x="280" y="670"/>
                  </a:cubicBezTo>
                  <a:lnTo>
                    <a:pt x="193" y="670"/>
                  </a:lnTo>
                  <a:close/>
                  <a:moveTo>
                    <a:pt x="452" y="742"/>
                  </a:moveTo>
                  <a:cubicBezTo>
                    <a:pt x="421" y="742"/>
                    <a:pt x="401" y="717"/>
                    <a:pt x="401" y="686"/>
                  </a:cubicBezTo>
                  <a:cubicBezTo>
                    <a:pt x="401" y="686"/>
                    <a:pt x="401" y="686"/>
                    <a:pt x="401" y="686"/>
                  </a:cubicBezTo>
                  <a:cubicBezTo>
                    <a:pt x="401" y="656"/>
                    <a:pt x="421" y="631"/>
                    <a:pt x="450" y="631"/>
                  </a:cubicBezTo>
                  <a:cubicBezTo>
                    <a:pt x="470" y="631"/>
                    <a:pt x="483" y="639"/>
                    <a:pt x="496" y="653"/>
                  </a:cubicBezTo>
                  <a:cubicBezTo>
                    <a:pt x="531" y="615"/>
                    <a:pt x="531" y="615"/>
                    <a:pt x="531" y="615"/>
                  </a:cubicBezTo>
                  <a:cubicBezTo>
                    <a:pt x="512" y="594"/>
                    <a:pt x="488" y="581"/>
                    <a:pt x="450" y="581"/>
                  </a:cubicBezTo>
                  <a:cubicBezTo>
                    <a:pt x="388" y="581"/>
                    <a:pt x="344" y="629"/>
                    <a:pt x="344" y="686"/>
                  </a:cubicBezTo>
                  <a:cubicBezTo>
                    <a:pt x="344" y="687"/>
                    <a:pt x="344" y="687"/>
                    <a:pt x="344" y="687"/>
                  </a:cubicBezTo>
                  <a:cubicBezTo>
                    <a:pt x="344" y="745"/>
                    <a:pt x="389" y="791"/>
                    <a:pt x="449" y="791"/>
                  </a:cubicBezTo>
                  <a:cubicBezTo>
                    <a:pt x="490" y="791"/>
                    <a:pt x="512" y="776"/>
                    <a:pt x="532" y="754"/>
                  </a:cubicBezTo>
                  <a:cubicBezTo>
                    <a:pt x="498" y="721"/>
                    <a:pt x="498" y="721"/>
                    <a:pt x="498" y="721"/>
                  </a:cubicBezTo>
                  <a:cubicBezTo>
                    <a:pt x="485" y="734"/>
                    <a:pt x="471" y="742"/>
                    <a:pt x="452" y="742"/>
                  </a:cubicBezTo>
                  <a:close/>
                  <a:moveTo>
                    <a:pt x="657" y="581"/>
                  </a:moveTo>
                  <a:cubicBezTo>
                    <a:pt x="628" y="581"/>
                    <a:pt x="611" y="597"/>
                    <a:pt x="598" y="614"/>
                  </a:cubicBezTo>
                  <a:cubicBezTo>
                    <a:pt x="598" y="512"/>
                    <a:pt x="598" y="512"/>
                    <a:pt x="598" y="512"/>
                  </a:cubicBezTo>
                  <a:cubicBezTo>
                    <a:pt x="541" y="512"/>
                    <a:pt x="541" y="512"/>
                    <a:pt x="541" y="512"/>
                  </a:cubicBezTo>
                  <a:cubicBezTo>
                    <a:pt x="541" y="787"/>
                    <a:pt x="541" y="787"/>
                    <a:pt x="541" y="787"/>
                  </a:cubicBezTo>
                  <a:cubicBezTo>
                    <a:pt x="598" y="787"/>
                    <a:pt x="598" y="787"/>
                    <a:pt x="598" y="787"/>
                  </a:cubicBezTo>
                  <a:cubicBezTo>
                    <a:pt x="598" y="674"/>
                    <a:pt x="598" y="674"/>
                    <a:pt x="598" y="674"/>
                  </a:cubicBezTo>
                  <a:cubicBezTo>
                    <a:pt x="598" y="647"/>
                    <a:pt x="612" y="633"/>
                    <a:pt x="634" y="633"/>
                  </a:cubicBezTo>
                  <a:cubicBezTo>
                    <a:pt x="656" y="633"/>
                    <a:pt x="669" y="647"/>
                    <a:pt x="669" y="674"/>
                  </a:cubicBezTo>
                  <a:cubicBezTo>
                    <a:pt x="669" y="787"/>
                    <a:pt x="669" y="787"/>
                    <a:pt x="669" y="787"/>
                  </a:cubicBezTo>
                  <a:cubicBezTo>
                    <a:pt x="726" y="787"/>
                    <a:pt x="726" y="787"/>
                    <a:pt x="726" y="787"/>
                  </a:cubicBezTo>
                  <a:cubicBezTo>
                    <a:pt x="726" y="656"/>
                    <a:pt x="726" y="656"/>
                    <a:pt x="726" y="656"/>
                  </a:cubicBezTo>
                  <a:cubicBezTo>
                    <a:pt x="726" y="610"/>
                    <a:pt x="701" y="581"/>
                    <a:pt x="657" y="581"/>
                  </a:cubicBezTo>
                  <a:close/>
                  <a:moveTo>
                    <a:pt x="857" y="581"/>
                  </a:moveTo>
                  <a:cubicBezTo>
                    <a:pt x="828" y="581"/>
                    <a:pt x="811" y="597"/>
                    <a:pt x="798" y="614"/>
                  </a:cubicBezTo>
                  <a:cubicBezTo>
                    <a:pt x="798" y="585"/>
                    <a:pt x="798" y="585"/>
                    <a:pt x="798" y="585"/>
                  </a:cubicBezTo>
                  <a:cubicBezTo>
                    <a:pt x="740" y="585"/>
                    <a:pt x="740" y="585"/>
                    <a:pt x="740" y="585"/>
                  </a:cubicBezTo>
                  <a:cubicBezTo>
                    <a:pt x="740" y="787"/>
                    <a:pt x="740" y="787"/>
                    <a:pt x="740" y="787"/>
                  </a:cubicBezTo>
                  <a:cubicBezTo>
                    <a:pt x="798" y="787"/>
                    <a:pt x="798" y="787"/>
                    <a:pt x="798" y="787"/>
                  </a:cubicBezTo>
                  <a:cubicBezTo>
                    <a:pt x="798" y="674"/>
                    <a:pt x="798" y="674"/>
                    <a:pt x="798" y="674"/>
                  </a:cubicBezTo>
                  <a:cubicBezTo>
                    <a:pt x="798" y="647"/>
                    <a:pt x="812" y="633"/>
                    <a:pt x="833" y="633"/>
                  </a:cubicBezTo>
                  <a:cubicBezTo>
                    <a:pt x="855" y="633"/>
                    <a:pt x="868" y="647"/>
                    <a:pt x="868" y="674"/>
                  </a:cubicBezTo>
                  <a:cubicBezTo>
                    <a:pt x="868" y="787"/>
                    <a:pt x="868" y="787"/>
                    <a:pt x="868" y="787"/>
                  </a:cubicBezTo>
                  <a:cubicBezTo>
                    <a:pt x="925" y="787"/>
                    <a:pt x="925" y="787"/>
                    <a:pt x="925" y="787"/>
                  </a:cubicBezTo>
                  <a:cubicBezTo>
                    <a:pt x="925" y="656"/>
                    <a:pt x="925" y="656"/>
                    <a:pt x="925" y="656"/>
                  </a:cubicBezTo>
                  <a:cubicBezTo>
                    <a:pt x="925" y="610"/>
                    <a:pt x="900" y="581"/>
                    <a:pt x="857" y="581"/>
                  </a:cubicBezTo>
                  <a:close/>
                  <a:moveTo>
                    <a:pt x="1155" y="686"/>
                  </a:moveTo>
                  <a:cubicBezTo>
                    <a:pt x="1155" y="686"/>
                    <a:pt x="1155" y="686"/>
                    <a:pt x="1155" y="686"/>
                  </a:cubicBezTo>
                  <a:cubicBezTo>
                    <a:pt x="1155" y="628"/>
                    <a:pt x="1109" y="581"/>
                    <a:pt x="1047" y="581"/>
                  </a:cubicBezTo>
                  <a:cubicBezTo>
                    <a:pt x="984" y="581"/>
                    <a:pt x="937" y="628"/>
                    <a:pt x="937" y="686"/>
                  </a:cubicBezTo>
                  <a:cubicBezTo>
                    <a:pt x="937" y="687"/>
                    <a:pt x="937" y="687"/>
                    <a:pt x="937" y="687"/>
                  </a:cubicBezTo>
                  <a:cubicBezTo>
                    <a:pt x="937" y="745"/>
                    <a:pt x="983" y="791"/>
                    <a:pt x="1046" y="791"/>
                  </a:cubicBezTo>
                  <a:cubicBezTo>
                    <a:pt x="1109" y="791"/>
                    <a:pt x="1155" y="744"/>
                    <a:pt x="1155" y="686"/>
                  </a:cubicBezTo>
                  <a:close/>
                  <a:moveTo>
                    <a:pt x="993" y="686"/>
                  </a:moveTo>
                  <a:cubicBezTo>
                    <a:pt x="993" y="686"/>
                    <a:pt x="993" y="686"/>
                    <a:pt x="993" y="686"/>
                  </a:cubicBezTo>
                  <a:cubicBezTo>
                    <a:pt x="993" y="656"/>
                    <a:pt x="1013" y="631"/>
                    <a:pt x="1046" y="631"/>
                  </a:cubicBezTo>
                  <a:cubicBezTo>
                    <a:pt x="1077" y="631"/>
                    <a:pt x="1099" y="657"/>
                    <a:pt x="1099" y="686"/>
                  </a:cubicBezTo>
                  <a:cubicBezTo>
                    <a:pt x="1099" y="687"/>
                    <a:pt x="1099" y="687"/>
                    <a:pt x="1099" y="687"/>
                  </a:cubicBezTo>
                  <a:cubicBezTo>
                    <a:pt x="1099" y="717"/>
                    <a:pt x="1079" y="742"/>
                    <a:pt x="1047" y="742"/>
                  </a:cubicBezTo>
                  <a:cubicBezTo>
                    <a:pt x="1015" y="742"/>
                    <a:pt x="993" y="716"/>
                    <a:pt x="993" y="686"/>
                  </a:cubicBezTo>
                  <a:close/>
                  <a:moveTo>
                    <a:pt x="1167" y="787"/>
                  </a:moveTo>
                  <a:cubicBezTo>
                    <a:pt x="1224" y="787"/>
                    <a:pt x="1224" y="787"/>
                    <a:pt x="1224" y="787"/>
                  </a:cubicBezTo>
                  <a:cubicBezTo>
                    <a:pt x="1224" y="512"/>
                    <a:pt x="1224" y="512"/>
                    <a:pt x="1224" y="512"/>
                  </a:cubicBezTo>
                  <a:cubicBezTo>
                    <a:pt x="1167" y="512"/>
                    <a:pt x="1167" y="512"/>
                    <a:pt x="1167" y="512"/>
                  </a:cubicBezTo>
                  <a:lnTo>
                    <a:pt x="1167" y="787"/>
                  </a:lnTo>
                  <a:close/>
                  <a:moveTo>
                    <a:pt x="1345" y="581"/>
                  </a:moveTo>
                  <a:cubicBezTo>
                    <a:pt x="1282" y="581"/>
                    <a:pt x="1235" y="628"/>
                    <a:pt x="1235" y="686"/>
                  </a:cubicBezTo>
                  <a:cubicBezTo>
                    <a:pt x="1235" y="687"/>
                    <a:pt x="1235" y="687"/>
                    <a:pt x="1235" y="687"/>
                  </a:cubicBezTo>
                  <a:cubicBezTo>
                    <a:pt x="1235" y="745"/>
                    <a:pt x="1281" y="791"/>
                    <a:pt x="1344" y="791"/>
                  </a:cubicBezTo>
                  <a:cubicBezTo>
                    <a:pt x="1407" y="791"/>
                    <a:pt x="1453" y="744"/>
                    <a:pt x="1453" y="686"/>
                  </a:cubicBezTo>
                  <a:cubicBezTo>
                    <a:pt x="1453" y="686"/>
                    <a:pt x="1453" y="686"/>
                    <a:pt x="1453" y="686"/>
                  </a:cubicBezTo>
                  <a:cubicBezTo>
                    <a:pt x="1453" y="628"/>
                    <a:pt x="1407" y="581"/>
                    <a:pt x="1345" y="581"/>
                  </a:cubicBezTo>
                  <a:close/>
                  <a:moveTo>
                    <a:pt x="1397" y="687"/>
                  </a:moveTo>
                  <a:cubicBezTo>
                    <a:pt x="1397" y="717"/>
                    <a:pt x="1377" y="742"/>
                    <a:pt x="1345" y="742"/>
                  </a:cubicBezTo>
                  <a:cubicBezTo>
                    <a:pt x="1313" y="742"/>
                    <a:pt x="1292" y="716"/>
                    <a:pt x="1292" y="686"/>
                  </a:cubicBezTo>
                  <a:cubicBezTo>
                    <a:pt x="1292" y="686"/>
                    <a:pt x="1292" y="686"/>
                    <a:pt x="1292" y="686"/>
                  </a:cubicBezTo>
                  <a:cubicBezTo>
                    <a:pt x="1292" y="656"/>
                    <a:pt x="1311" y="631"/>
                    <a:pt x="1344" y="631"/>
                  </a:cubicBezTo>
                  <a:cubicBezTo>
                    <a:pt x="1375" y="631"/>
                    <a:pt x="1397" y="657"/>
                    <a:pt x="1397" y="686"/>
                  </a:cubicBezTo>
                  <a:lnTo>
                    <a:pt x="1397" y="687"/>
                  </a:lnTo>
                  <a:close/>
                  <a:moveTo>
                    <a:pt x="1560" y="802"/>
                  </a:moveTo>
                  <a:cubicBezTo>
                    <a:pt x="1533" y="802"/>
                    <a:pt x="1513" y="795"/>
                    <a:pt x="1492" y="784"/>
                  </a:cubicBezTo>
                  <a:cubicBezTo>
                    <a:pt x="1472" y="827"/>
                    <a:pt x="1472" y="827"/>
                    <a:pt x="1472" y="827"/>
                  </a:cubicBezTo>
                  <a:cubicBezTo>
                    <a:pt x="1498" y="840"/>
                    <a:pt x="1529" y="848"/>
                    <a:pt x="1562" y="848"/>
                  </a:cubicBezTo>
                  <a:cubicBezTo>
                    <a:pt x="1601" y="848"/>
                    <a:pt x="1630" y="840"/>
                    <a:pt x="1649" y="821"/>
                  </a:cubicBezTo>
                  <a:cubicBezTo>
                    <a:pt x="1666" y="804"/>
                    <a:pt x="1674" y="777"/>
                    <a:pt x="1674" y="741"/>
                  </a:cubicBezTo>
                  <a:cubicBezTo>
                    <a:pt x="1674" y="585"/>
                    <a:pt x="1674" y="585"/>
                    <a:pt x="1674" y="585"/>
                  </a:cubicBezTo>
                  <a:cubicBezTo>
                    <a:pt x="1617" y="585"/>
                    <a:pt x="1617" y="585"/>
                    <a:pt x="1617" y="585"/>
                  </a:cubicBezTo>
                  <a:cubicBezTo>
                    <a:pt x="1617" y="611"/>
                    <a:pt x="1617" y="611"/>
                    <a:pt x="1617" y="611"/>
                  </a:cubicBezTo>
                  <a:cubicBezTo>
                    <a:pt x="1602" y="594"/>
                    <a:pt x="1583" y="581"/>
                    <a:pt x="1552" y="581"/>
                  </a:cubicBezTo>
                  <a:cubicBezTo>
                    <a:pt x="1505" y="581"/>
                    <a:pt x="1462" y="615"/>
                    <a:pt x="1462" y="675"/>
                  </a:cubicBezTo>
                  <a:cubicBezTo>
                    <a:pt x="1462" y="676"/>
                    <a:pt x="1462" y="676"/>
                    <a:pt x="1462" y="676"/>
                  </a:cubicBezTo>
                  <a:cubicBezTo>
                    <a:pt x="1462" y="736"/>
                    <a:pt x="1505" y="770"/>
                    <a:pt x="1552" y="770"/>
                  </a:cubicBezTo>
                  <a:cubicBezTo>
                    <a:pt x="1582" y="770"/>
                    <a:pt x="1601" y="758"/>
                    <a:pt x="1618" y="737"/>
                  </a:cubicBezTo>
                  <a:cubicBezTo>
                    <a:pt x="1618" y="747"/>
                    <a:pt x="1618" y="747"/>
                    <a:pt x="1618" y="747"/>
                  </a:cubicBezTo>
                  <a:cubicBezTo>
                    <a:pt x="1618" y="783"/>
                    <a:pt x="1599" y="802"/>
                    <a:pt x="1560" y="802"/>
                  </a:cubicBezTo>
                  <a:close/>
                  <a:moveTo>
                    <a:pt x="1568" y="723"/>
                  </a:moveTo>
                  <a:cubicBezTo>
                    <a:pt x="1541" y="723"/>
                    <a:pt x="1519" y="704"/>
                    <a:pt x="1519" y="676"/>
                  </a:cubicBezTo>
                  <a:cubicBezTo>
                    <a:pt x="1519" y="675"/>
                    <a:pt x="1519" y="675"/>
                    <a:pt x="1519" y="675"/>
                  </a:cubicBezTo>
                  <a:cubicBezTo>
                    <a:pt x="1519" y="648"/>
                    <a:pt x="1541" y="629"/>
                    <a:pt x="1568" y="629"/>
                  </a:cubicBezTo>
                  <a:cubicBezTo>
                    <a:pt x="1596" y="629"/>
                    <a:pt x="1618" y="648"/>
                    <a:pt x="1618" y="675"/>
                  </a:cubicBezTo>
                  <a:cubicBezTo>
                    <a:pt x="1618" y="676"/>
                    <a:pt x="1618" y="676"/>
                    <a:pt x="1618" y="676"/>
                  </a:cubicBezTo>
                  <a:cubicBezTo>
                    <a:pt x="1618" y="704"/>
                    <a:pt x="1596" y="723"/>
                    <a:pt x="1568" y="723"/>
                  </a:cubicBezTo>
                  <a:close/>
                  <a:moveTo>
                    <a:pt x="1790" y="722"/>
                  </a:moveTo>
                  <a:cubicBezTo>
                    <a:pt x="1744" y="585"/>
                    <a:pt x="1744" y="585"/>
                    <a:pt x="1744" y="585"/>
                  </a:cubicBezTo>
                  <a:cubicBezTo>
                    <a:pt x="1684" y="585"/>
                    <a:pt x="1684" y="585"/>
                    <a:pt x="1684" y="585"/>
                  </a:cubicBezTo>
                  <a:cubicBezTo>
                    <a:pt x="1763" y="788"/>
                    <a:pt x="1763" y="788"/>
                    <a:pt x="1763" y="788"/>
                  </a:cubicBezTo>
                  <a:cubicBezTo>
                    <a:pt x="1758" y="798"/>
                    <a:pt x="1753" y="801"/>
                    <a:pt x="1743" y="801"/>
                  </a:cubicBezTo>
                  <a:cubicBezTo>
                    <a:pt x="1735" y="801"/>
                    <a:pt x="1726" y="797"/>
                    <a:pt x="1718" y="793"/>
                  </a:cubicBezTo>
                  <a:cubicBezTo>
                    <a:pt x="1699" y="834"/>
                    <a:pt x="1699" y="834"/>
                    <a:pt x="1699" y="834"/>
                  </a:cubicBezTo>
                  <a:cubicBezTo>
                    <a:pt x="1714" y="843"/>
                    <a:pt x="1729" y="848"/>
                    <a:pt x="1750" y="848"/>
                  </a:cubicBezTo>
                  <a:cubicBezTo>
                    <a:pt x="1784" y="848"/>
                    <a:pt x="1801" y="833"/>
                    <a:pt x="1816" y="792"/>
                  </a:cubicBezTo>
                  <a:cubicBezTo>
                    <a:pt x="1894" y="585"/>
                    <a:pt x="1894" y="585"/>
                    <a:pt x="1894" y="585"/>
                  </a:cubicBezTo>
                  <a:cubicBezTo>
                    <a:pt x="1834" y="585"/>
                    <a:pt x="1834" y="585"/>
                    <a:pt x="1834" y="585"/>
                  </a:cubicBezTo>
                  <a:lnTo>
                    <a:pt x="1790" y="722"/>
                  </a:lnTo>
                  <a:close/>
                  <a:moveTo>
                    <a:pt x="1101" y="965"/>
                  </a:moveTo>
                  <a:cubicBezTo>
                    <a:pt x="1054" y="965"/>
                    <a:pt x="1054" y="965"/>
                    <a:pt x="1054" y="965"/>
                  </a:cubicBezTo>
                  <a:cubicBezTo>
                    <a:pt x="1054" y="957"/>
                    <a:pt x="1054" y="957"/>
                    <a:pt x="1054" y="957"/>
                  </a:cubicBezTo>
                  <a:cubicBezTo>
                    <a:pt x="1054" y="942"/>
                    <a:pt x="1062" y="935"/>
                    <a:pt x="1075" y="935"/>
                  </a:cubicBezTo>
                  <a:cubicBezTo>
                    <a:pt x="1085" y="935"/>
                    <a:pt x="1093" y="937"/>
                    <a:pt x="1101" y="940"/>
                  </a:cubicBezTo>
                  <a:cubicBezTo>
                    <a:pt x="1101" y="893"/>
                    <a:pt x="1101" y="893"/>
                    <a:pt x="1101" y="893"/>
                  </a:cubicBezTo>
                  <a:cubicBezTo>
                    <a:pt x="1091" y="889"/>
                    <a:pt x="1078" y="887"/>
                    <a:pt x="1060" y="887"/>
                  </a:cubicBezTo>
                  <a:cubicBezTo>
                    <a:pt x="1040" y="887"/>
                    <a:pt x="1025" y="892"/>
                    <a:pt x="1014" y="903"/>
                  </a:cubicBezTo>
                  <a:cubicBezTo>
                    <a:pt x="1004" y="914"/>
                    <a:pt x="998" y="930"/>
                    <a:pt x="998" y="952"/>
                  </a:cubicBezTo>
                  <a:cubicBezTo>
                    <a:pt x="998" y="965"/>
                    <a:pt x="998" y="965"/>
                    <a:pt x="998" y="965"/>
                  </a:cubicBezTo>
                  <a:cubicBezTo>
                    <a:pt x="974" y="965"/>
                    <a:pt x="974" y="965"/>
                    <a:pt x="974" y="965"/>
                  </a:cubicBezTo>
                  <a:cubicBezTo>
                    <a:pt x="974" y="1012"/>
                    <a:pt x="974" y="1012"/>
                    <a:pt x="974" y="1012"/>
                  </a:cubicBezTo>
                  <a:cubicBezTo>
                    <a:pt x="998" y="1012"/>
                    <a:pt x="998" y="1012"/>
                    <a:pt x="998" y="1012"/>
                  </a:cubicBezTo>
                  <a:cubicBezTo>
                    <a:pt x="998" y="1165"/>
                    <a:pt x="998" y="1165"/>
                    <a:pt x="998" y="1165"/>
                  </a:cubicBezTo>
                  <a:cubicBezTo>
                    <a:pt x="1055" y="1165"/>
                    <a:pt x="1055" y="1165"/>
                    <a:pt x="1055" y="1165"/>
                  </a:cubicBezTo>
                  <a:cubicBezTo>
                    <a:pt x="1055" y="1012"/>
                    <a:pt x="1055" y="1012"/>
                    <a:pt x="1055" y="1012"/>
                  </a:cubicBezTo>
                  <a:cubicBezTo>
                    <a:pt x="1101" y="1012"/>
                    <a:pt x="1101" y="1012"/>
                    <a:pt x="1101" y="1012"/>
                  </a:cubicBezTo>
                  <a:lnTo>
                    <a:pt x="1101" y="965"/>
                  </a:lnTo>
                  <a:close/>
                  <a:moveTo>
                    <a:pt x="1209" y="959"/>
                  </a:moveTo>
                  <a:cubicBezTo>
                    <a:pt x="1147" y="959"/>
                    <a:pt x="1100" y="1006"/>
                    <a:pt x="1100" y="1064"/>
                  </a:cubicBezTo>
                  <a:cubicBezTo>
                    <a:pt x="1100" y="1065"/>
                    <a:pt x="1100" y="1065"/>
                    <a:pt x="1100" y="1065"/>
                  </a:cubicBezTo>
                  <a:cubicBezTo>
                    <a:pt x="1100" y="1123"/>
                    <a:pt x="1146" y="1169"/>
                    <a:pt x="1209" y="1169"/>
                  </a:cubicBezTo>
                  <a:cubicBezTo>
                    <a:pt x="1272" y="1169"/>
                    <a:pt x="1318" y="1122"/>
                    <a:pt x="1318" y="1064"/>
                  </a:cubicBezTo>
                  <a:cubicBezTo>
                    <a:pt x="1318" y="1063"/>
                    <a:pt x="1318" y="1063"/>
                    <a:pt x="1318" y="1063"/>
                  </a:cubicBezTo>
                  <a:cubicBezTo>
                    <a:pt x="1318" y="1005"/>
                    <a:pt x="1272" y="959"/>
                    <a:pt x="1209" y="959"/>
                  </a:cubicBezTo>
                  <a:close/>
                  <a:moveTo>
                    <a:pt x="1262" y="1065"/>
                  </a:moveTo>
                  <a:cubicBezTo>
                    <a:pt x="1262" y="1095"/>
                    <a:pt x="1242" y="1120"/>
                    <a:pt x="1209" y="1120"/>
                  </a:cubicBezTo>
                  <a:cubicBezTo>
                    <a:pt x="1178" y="1120"/>
                    <a:pt x="1156" y="1094"/>
                    <a:pt x="1156" y="1064"/>
                  </a:cubicBezTo>
                  <a:cubicBezTo>
                    <a:pt x="1156" y="1063"/>
                    <a:pt x="1156" y="1063"/>
                    <a:pt x="1156" y="1063"/>
                  </a:cubicBezTo>
                  <a:cubicBezTo>
                    <a:pt x="1156" y="1034"/>
                    <a:pt x="1176" y="1008"/>
                    <a:pt x="1209" y="1008"/>
                  </a:cubicBezTo>
                  <a:cubicBezTo>
                    <a:pt x="1240" y="1008"/>
                    <a:pt x="1262" y="1034"/>
                    <a:pt x="1262" y="1064"/>
                  </a:cubicBezTo>
                  <a:lnTo>
                    <a:pt x="1262" y="1065"/>
                  </a:lnTo>
                  <a:close/>
                  <a:moveTo>
                    <a:pt x="1389" y="1004"/>
                  </a:moveTo>
                  <a:cubicBezTo>
                    <a:pt x="1389" y="963"/>
                    <a:pt x="1389" y="963"/>
                    <a:pt x="1389" y="963"/>
                  </a:cubicBezTo>
                  <a:cubicBezTo>
                    <a:pt x="1332" y="963"/>
                    <a:pt x="1332" y="963"/>
                    <a:pt x="1332" y="963"/>
                  </a:cubicBezTo>
                  <a:cubicBezTo>
                    <a:pt x="1332" y="1165"/>
                    <a:pt x="1332" y="1165"/>
                    <a:pt x="1332" y="1165"/>
                  </a:cubicBezTo>
                  <a:cubicBezTo>
                    <a:pt x="1389" y="1165"/>
                    <a:pt x="1389" y="1165"/>
                    <a:pt x="1389" y="1165"/>
                  </a:cubicBezTo>
                  <a:cubicBezTo>
                    <a:pt x="1389" y="1090"/>
                    <a:pt x="1389" y="1090"/>
                    <a:pt x="1389" y="1090"/>
                  </a:cubicBezTo>
                  <a:cubicBezTo>
                    <a:pt x="1389" y="1042"/>
                    <a:pt x="1412" y="1019"/>
                    <a:pt x="1450" y="1019"/>
                  </a:cubicBezTo>
                  <a:cubicBezTo>
                    <a:pt x="1453" y="1019"/>
                    <a:pt x="1453" y="1019"/>
                    <a:pt x="1453" y="1019"/>
                  </a:cubicBezTo>
                  <a:cubicBezTo>
                    <a:pt x="1453" y="959"/>
                    <a:pt x="1453" y="959"/>
                    <a:pt x="1453" y="959"/>
                  </a:cubicBezTo>
                  <a:cubicBezTo>
                    <a:pt x="1419" y="958"/>
                    <a:pt x="1400" y="976"/>
                    <a:pt x="1389" y="1004"/>
                  </a:cubicBezTo>
                  <a:close/>
                  <a:moveTo>
                    <a:pt x="1622" y="961"/>
                  </a:moveTo>
                  <a:cubicBezTo>
                    <a:pt x="1588" y="961"/>
                    <a:pt x="1566" y="967"/>
                    <a:pt x="1544" y="977"/>
                  </a:cubicBezTo>
                  <a:cubicBezTo>
                    <a:pt x="1558" y="1020"/>
                    <a:pt x="1558" y="1020"/>
                    <a:pt x="1558" y="1020"/>
                  </a:cubicBezTo>
                  <a:cubicBezTo>
                    <a:pt x="1576" y="1014"/>
                    <a:pt x="1592" y="1010"/>
                    <a:pt x="1614" y="1010"/>
                  </a:cubicBezTo>
                  <a:cubicBezTo>
                    <a:pt x="1642" y="1010"/>
                    <a:pt x="1657" y="1023"/>
                    <a:pt x="1657" y="1046"/>
                  </a:cubicBezTo>
                  <a:cubicBezTo>
                    <a:pt x="1657" y="1050"/>
                    <a:pt x="1657" y="1050"/>
                    <a:pt x="1657" y="1050"/>
                  </a:cubicBezTo>
                  <a:cubicBezTo>
                    <a:pt x="1643" y="1045"/>
                    <a:pt x="1628" y="1042"/>
                    <a:pt x="1608" y="1042"/>
                  </a:cubicBezTo>
                  <a:cubicBezTo>
                    <a:pt x="1560" y="1042"/>
                    <a:pt x="1526" y="1062"/>
                    <a:pt x="1526" y="1106"/>
                  </a:cubicBezTo>
                  <a:cubicBezTo>
                    <a:pt x="1526" y="1107"/>
                    <a:pt x="1526" y="1107"/>
                    <a:pt x="1526" y="1107"/>
                  </a:cubicBezTo>
                  <a:cubicBezTo>
                    <a:pt x="1526" y="1147"/>
                    <a:pt x="1558" y="1168"/>
                    <a:pt x="1596" y="1168"/>
                  </a:cubicBezTo>
                  <a:cubicBezTo>
                    <a:pt x="1624" y="1168"/>
                    <a:pt x="1643" y="1158"/>
                    <a:pt x="1657" y="1143"/>
                  </a:cubicBezTo>
                  <a:cubicBezTo>
                    <a:pt x="1657" y="1165"/>
                    <a:pt x="1657" y="1165"/>
                    <a:pt x="1657" y="1165"/>
                  </a:cubicBezTo>
                  <a:cubicBezTo>
                    <a:pt x="1712" y="1165"/>
                    <a:pt x="1712" y="1165"/>
                    <a:pt x="1712" y="1165"/>
                  </a:cubicBezTo>
                  <a:cubicBezTo>
                    <a:pt x="1712" y="1048"/>
                    <a:pt x="1712" y="1048"/>
                    <a:pt x="1712" y="1048"/>
                  </a:cubicBezTo>
                  <a:cubicBezTo>
                    <a:pt x="1712" y="1020"/>
                    <a:pt x="1705" y="998"/>
                    <a:pt x="1690" y="983"/>
                  </a:cubicBezTo>
                  <a:cubicBezTo>
                    <a:pt x="1676" y="969"/>
                    <a:pt x="1653" y="961"/>
                    <a:pt x="1622" y="961"/>
                  </a:cubicBezTo>
                  <a:close/>
                  <a:moveTo>
                    <a:pt x="1658" y="1094"/>
                  </a:moveTo>
                  <a:cubicBezTo>
                    <a:pt x="1658" y="1114"/>
                    <a:pt x="1640" y="1129"/>
                    <a:pt x="1613" y="1129"/>
                  </a:cubicBezTo>
                  <a:cubicBezTo>
                    <a:pt x="1595" y="1129"/>
                    <a:pt x="1582" y="1120"/>
                    <a:pt x="1582" y="1104"/>
                  </a:cubicBezTo>
                  <a:cubicBezTo>
                    <a:pt x="1582" y="1104"/>
                    <a:pt x="1582" y="1104"/>
                    <a:pt x="1582" y="1104"/>
                  </a:cubicBezTo>
                  <a:cubicBezTo>
                    <a:pt x="1582" y="1086"/>
                    <a:pt x="1597" y="1076"/>
                    <a:pt x="1621" y="1076"/>
                  </a:cubicBezTo>
                  <a:cubicBezTo>
                    <a:pt x="1635" y="1076"/>
                    <a:pt x="1648" y="1079"/>
                    <a:pt x="1658" y="1083"/>
                  </a:cubicBezTo>
                  <a:lnTo>
                    <a:pt x="1658" y="1094"/>
                  </a:lnTo>
                  <a:close/>
                  <a:moveTo>
                    <a:pt x="1736" y="1165"/>
                  </a:moveTo>
                  <a:cubicBezTo>
                    <a:pt x="1793" y="1165"/>
                    <a:pt x="1793" y="1165"/>
                    <a:pt x="1793" y="1165"/>
                  </a:cubicBezTo>
                  <a:cubicBezTo>
                    <a:pt x="1793" y="890"/>
                    <a:pt x="1793" y="890"/>
                    <a:pt x="1793" y="890"/>
                  </a:cubicBezTo>
                  <a:cubicBezTo>
                    <a:pt x="1736" y="890"/>
                    <a:pt x="1736" y="890"/>
                    <a:pt x="1736" y="890"/>
                  </a:cubicBezTo>
                  <a:lnTo>
                    <a:pt x="1736" y="1165"/>
                  </a:lnTo>
                  <a:close/>
                  <a:moveTo>
                    <a:pt x="1817" y="1165"/>
                  </a:moveTo>
                  <a:cubicBezTo>
                    <a:pt x="1874" y="1165"/>
                    <a:pt x="1874" y="1165"/>
                    <a:pt x="1874" y="1165"/>
                  </a:cubicBezTo>
                  <a:cubicBezTo>
                    <a:pt x="1874" y="890"/>
                    <a:pt x="1874" y="890"/>
                    <a:pt x="1874" y="890"/>
                  </a:cubicBezTo>
                  <a:cubicBezTo>
                    <a:pt x="1817" y="890"/>
                    <a:pt x="1817" y="890"/>
                    <a:pt x="1817" y="890"/>
                  </a:cubicBezTo>
                  <a:lnTo>
                    <a:pt x="1817" y="1165"/>
                  </a:lnTo>
                  <a:close/>
                  <a:moveTo>
                    <a:pt x="2086" y="0"/>
                  </a:moveTo>
                  <a:cubicBezTo>
                    <a:pt x="2086" y="1832"/>
                    <a:pt x="2086" y="1832"/>
                    <a:pt x="2086" y="1832"/>
                  </a:cubicBezTo>
                  <a:cubicBezTo>
                    <a:pt x="2697" y="1832"/>
                    <a:pt x="2697" y="1832"/>
                    <a:pt x="2697" y="1832"/>
                  </a:cubicBezTo>
                  <a:cubicBezTo>
                    <a:pt x="2697" y="0"/>
                    <a:pt x="2697" y="0"/>
                    <a:pt x="2697" y="0"/>
                  </a:cubicBezTo>
                  <a:lnTo>
                    <a:pt x="2086" y="0"/>
                  </a:lnTo>
                  <a:close/>
                </a:path>
              </a:pathLst>
            </a:custGeom>
            <a:gradFill flip="none" rotWithShape="1">
              <a:gsLst>
                <a:gs pos="37000">
                  <a:srgbClr val="F2A11F"/>
                </a:gs>
                <a:gs pos="56000">
                  <a:srgbClr val="EC5124"/>
                </a:gs>
                <a:gs pos="83000">
                  <a:srgbClr val="D32A27"/>
                </a:gs>
                <a:gs pos="100000">
                  <a:srgbClr val="7A425E"/>
                </a:gs>
              </a:gsLst>
              <a:lin ang="189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28F2614-0FCC-4D8C-BC98-D03E162B4F33}"/>
                </a:ext>
              </a:extLst>
            </p:cNvPr>
            <p:cNvGrpSpPr/>
            <p:nvPr userDrawn="1"/>
          </p:nvGrpSpPr>
          <p:grpSpPr>
            <a:xfrm>
              <a:off x="11291887" y="1987551"/>
              <a:ext cx="590550" cy="2868613"/>
              <a:chOff x="11291887" y="1987551"/>
              <a:chExt cx="590550" cy="2868613"/>
            </a:xfrm>
          </p:grpSpPr>
          <p:sp>
            <p:nvSpPr>
              <p:cNvPr id="13" name="Freeform 6">
                <a:extLst>
                  <a:ext uri="{FF2B5EF4-FFF2-40B4-BE49-F238E27FC236}">
                    <a16:creationId xmlns:a16="http://schemas.microsoft.com/office/drawing/2014/main" id="{4BE4413F-C77A-40BA-9643-97A55AFCF5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18887" y="3471864"/>
                <a:ext cx="455612" cy="452438"/>
              </a:xfrm>
              <a:custGeom>
                <a:avLst/>
                <a:gdLst>
                  <a:gd name="T0" fmla="*/ 0 w 239"/>
                  <a:gd name="T1" fmla="*/ 96 h 237"/>
                  <a:gd name="T2" fmla="*/ 38 w 239"/>
                  <a:gd name="T3" fmla="*/ 173 h 237"/>
                  <a:gd name="T4" fmla="*/ 38 w 239"/>
                  <a:gd name="T5" fmla="*/ 173 h 237"/>
                  <a:gd name="T6" fmla="*/ 38 w 239"/>
                  <a:gd name="T7" fmla="*/ 173 h 237"/>
                  <a:gd name="T8" fmla="*/ 4 w 239"/>
                  <a:gd name="T9" fmla="*/ 173 h 237"/>
                  <a:gd name="T10" fmla="*/ 4 w 239"/>
                  <a:gd name="T11" fmla="*/ 237 h 237"/>
                  <a:gd name="T12" fmla="*/ 239 w 239"/>
                  <a:gd name="T13" fmla="*/ 237 h 237"/>
                  <a:gd name="T14" fmla="*/ 239 w 239"/>
                  <a:gd name="T15" fmla="*/ 173 h 237"/>
                  <a:gd name="T16" fmla="*/ 105 w 239"/>
                  <a:gd name="T17" fmla="*/ 173 h 237"/>
                  <a:gd name="T18" fmla="*/ 56 w 239"/>
                  <a:gd name="T19" fmla="*/ 119 h 237"/>
                  <a:gd name="T20" fmla="*/ 105 w 239"/>
                  <a:gd name="T21" fmla="*/ 65 h 237"/>
                  <a:gd name="T22" fmla="*/ 239 w 239"/>
                  <a:gd name="T23" fmla="*/ 65 h 237"/>
                  <a:gd name="T24" fmla="*/ 239 w 239"/>
                  <a:gd name="T25" fmla="*/ 0 h 237"/>
                  <a:gd name="T26" fmla="*/ 93 w 239"/>
                  <a:gd name="T27" fmla="*/ 0 h 237"/>
                  <a:gd name="T28" fmla="*/ 0 w 239"/>
                  <a:gd name="T29" fmla="*/ 96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9" h="237">
                    <a:moveTo>
                      <a:pt x="0" y="96"/>
                    </a:moveTo>
                    <a:cubicBezTo>
                      <a:pt x="0" y="123"/>
                      <a:pt x="13" y="154"/>
                      <a:pt x="38" y="173"/>
                    </a:cubicBezTo>
                    <a:cubicBezTo>
                      <a:pt x="38" y="173"/>
                      <a:pt x="38" y="173"/>
                      <a:pt x="38" y="173"/>
                    </a:cubicBezTo>
                    <a:cubicBezTo>
                      <a:pt x="38" y="173"/>
                      <a:pt x="38" y="173"/>
                      <a:pt x="38" y="173"/>
                    </a:cubicBezTo>
                    <a:cubicBezTo>
                      <a:pt x="4" y="173"/>
                      <a:pt x="4" y="173"/>
                      <a:pt x="4" y="173"/>
                    </a:cubicBezTo>
                    <a:cubicBezTo>
                      <a:pt x="4" y="237"/>
                      <a:pt x="4" y="237"/>
                      <a:pt x="4" y="237"/>
                    </a:cubicBezTo>
                    <a:cubicBezTo>
                      <a:pt x="239" y="237"/>
                      <a:pt x="239" y="237"/>
                      <a:pt x="239" y="237"/>
                    </a:cubicBezTo>
                    <a:cubicBezTo>
                      <a:pt x="239" y="173"/>
                      <a:pt x="239" y="173"/>
                      <a:pt x="239" y="173"/>
                    </a:cubicBezTo>
                    <a:cubicBezTo>
                      <a:pt x="105" y="173"/>
                      <a:pt x="105" y="173"/>
                      <a:pt x="105" y="173"/>
                    </a:cubicBezTo>
                    <a:cubicBezTo>
                      <a:pt x="81" y="173"/>
                      <a:pt x="56" y="154"/>
                      <a:pt x="56" y="119"/>
                    </a:cubicBezTo>
                    <a:cubicBezTo>
                      <a:pt x="56" y="93"/>
                      <a:pt x="74" y="65"/>
                      <a:pt x="105" y="65"/>
                    </a:cubicBezTo>
                    <a:cubicBezTo>
                      <a:pt x="239" y="65"/>
                      <a:pt x="239" y="65"/>
                      <a:pt x="239" y="65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39" y="0"/>
                      <a:pt x="0" y="39"/>
                      <a:pt x="0" y="9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3CA96921-0134-4138-B35F-24FF949280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25237" y="2452689"/>
                <a:ext cx="449262" cy="506413"/>
              </a:xfrm>
              <a:custGeom>
                <a:avLst/>
                <a:gdLst>
                  <a:gd name="T0" fmla="*/ 0 w 283"/>
                  <a:gd name="T1" fmla="*/ 89 h 319"/>
                  <a:gd name="T2" fmla="*/ 193 w 283"/>
                  <a:gd name="T3" fmla="*/ 159 h 319"/>
                  <a:gd name="T4" fmla="*/ 0 w 283"/>
                  <a:gd name="T5" fmla="*/ 229 h 319"/>
                  <a:gd name="T6" fmla="*/ 0 w 283"/>
                  <a:gd name="T7" fmla="*/ 319 h 319"/>
                  <a:gd name="T8" fmla="*/ 283 w 283"/>
                  <a:gd name="T9" fmla="*/ 202 h 319"/>
                  <a:gd name="T10" fmla="*/ 283 w 283"/>
                  <a:gd name="T11" fmla="*/ 117 h 319"/>
                  <a:gd name="T12" fmla="*/ 0 w 283"/>
                  <a:gd name="T13" fmla="*/ 0 h 319"/>
                  <a:gd name="T14" fmla="*/ 0 w 283"/>
                  <a:gd name="T15" fmla="*/ 89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3" h="319">
                    <a:moveTo>
                      <a:pt x="0" y="89"/>
                    </a:moveTo>
                    <a:lnTo>
                      <a:pt x="193" y="159"/>
                    </a:lnTo>
                    <a:lnTo>
                      <a:pt x="0" y="229"/>
                    </a:lnTo>
                    <a:lnTo>
                      <a:pt x="0" y="319"/>
                    </a:lnTo>
                    <a:lnTo>
                      <a:pt x="283" y="202"/>
                    </a:lnTo>
                    <a:lnTo>
                      <a:pt x="283" y="117"/>
                    </a:lnTo>
                    <a:lnTo>
                      <a:pt x="0" y="0"/>
                    </a:lnTo>
                    <a:lnTo>
                      <a:pt x="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294835C9-5930-4B1D-B981-5AC310AA602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18887" y="3968751"/>
                <a:ext cx="463550" cy="471488"/>
              </a:xfrm>
              <a:custGeom>
                <a:avLst/>
                <a:gdLst>
                  <a:gd name="T0" fmla="*/ 167 w 243"/>
                  <a:gd name="T1" fmla="*/ 46 h 246"/>
                  <a:gd name="T2" fmla="*/ 192 w 243"/>
                  <a:gd name="T3" fmla="*/ 113 h 246"/>
                  <a:gd name="T4" fmla="*/ 173 w 243"/>
                  <a:gd name="T5" fmla="*/ 165 h 246"/>
                  <a:gd name="T6" fmla="*/ 104 w 243"/>
                  <a:gd name="T7" fmla="*/ 0 h 246"/>
                  <a:gd name="T8" fmla="*/ 39 w 243"/>
                  <a:gd name="T9" fmla="*/ 28 h 246"/>
                  <a:gd name="T10" fmla="*/ 0 w 243"/>
                  <a:gd name="T11" fmla="*/ 121 h 246"/>
                  <a:gd name="T12" fmla="*/ 122 w 243"/>
                  <a:gd name="T13" fmla="*/ 246 h 246"/>
                  <a:gd name="T14" fmla="*/ 243 w 243"/>
                  <a:gd name="T15" fmla="*/ 114 h 246"/>
                  <a:gd name="T16" fmla="*/ 198 w 243"/>
                  <a:gd name="T17" fmla="*/ 5 h 246"/>
                  <a:gd name="T18" fmla="*/ 167 w 243"/>
                  <a:gd name="T19" fmla="*/ 46 h 246"/>
                  <a:gd name="T20" fmla="*/ 75 w 243"/>
                  <a:gd name="T21" fmla="*/ 170 h 246"/>
                  <a:gd name="T22" fmla="*/ 51 w 243"/>
                  <a:gd name="T23" fmla="*/ 120 h 246"/>
                  <a:gd name="T24" fmla="*/ 84 w 243"/>
                  <a:gd name="T25" fmla="*/ 70 h 246"/>
                  <a:gd name="T26" fmla="*/ 131 w 243"/>
                  <a:gd name="T27" fmla="*/ 183 h 246"/>
                  <a:gd name="T28" fmla="*/ 75 w 243"/>
                  <a:gd name="T29" fmla="*/ 17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3" h="246">
                    <a:moveTo>
                      <a:pt x="167" y="46"/>
                    </a:moveTo>
                    <a:cubicBezTo>
                      <a:pt x="187" y="73"/>
                      <a:pt x="192" y="88"/>
                      <a:pt x="192" y="113"/>
                    </a:cubicBezTo>
                    <a:cubicBezTo>
                      <a:pt x="192" y="135"/>
                      <a:pt x="185" y="153"/>
                      <a:pt x="173" y="165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79" y="4"/>
                      <a:pt x="56" y="14"/>
                      <a:pt x="39" y="28"/>
                    </a:cubicBezTo>
                    <a:cubicBezTo>
                      <a:pt x="13" y="50"/>
                      <a:pt x="0" y="82"/>
                      <a:pt x="0" y="121"/>
                    </a:cubicBezTo>
                    <a:cubicBezTo>
                      <a:pt x="0" y="192"/>
                      <a:pt x="52" y="246"/>
                      <a:pt x="122" y="246"/>
                    </a:cubicBezTo>
                    <a:cubicBezTo>
                      <a:pt x="193" y="246"/>
                      <a:pt x="243" y="192"/>
                      <a:pt x="243" y="114"/>
                    </a:cubicBezTo>
                    <a:cubicBezTo>
                      <a:pt x="243" y="70"/>
                      <a:pt x="222" y="26"/>
                      <a:pt x="198" y="5"/>
                    </a:cubicBezTo>
                    <a:lnTo>
                      <a:pt x="167" y="46"/>
                    </a:lnTo>
                    <a:close/>
                    <a:moveTo>
                      <a:pt x="75" y="170"/>
                    </a:moveTo>
                    <a:cubicBezTo>
                      <a:pt x="60" y="159"/>
                      <a:pt x="51" y="141"/>
                      <a:pt x="51" y="120"/>
                    </a:cubicBezTo>
                    <a:cubicBezTo>
                      <a:pt x="51" y="97"/>
                      <a:pt x="65" y="79"/>
                      <a:pt x="84" y="70"/>
                    </a:cubicBezTo>
                    <a:cubicBezTo>
                      <a:pt x="131" y="183"/>
                      <a:pt x="131" y="183"/>
                      <a:pt x="131" y="183"/>
                    </a:cubicBezTo>
                    <a:cubicBezTo>
                      <a:pt x="107" y="186"/>
                      <a:pt x="88" y="180"/>
                      <a:pt x="75" y="17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C78C8B28-A3DD-4458-8A59-EE68D1ACDD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91887" y="4451351"/>
                <a:ext cx="582612" cy="404813"/>
              </a:xfrm>
              <a:custGeom>
                <a:avLst/>
                <a:gdLst>
                  <a:gd name="T0" fmla="*/ 296 w 367"/>
                  <a:gd name="T1" fmla="*/ 0 h 255"/>
                  <a:gd name="T2" fmla="*/ 296 w 367"/>
                  <a:gd name="T3" fmla="*/ 177 h 255"/>
                  <a:gd name="T4" fmla="*/ 0 w 367"/>
                  <a:gd name="T5" fmla="*/ 177 h 255"/>
                  <a:gd name="T6" fmla="*/ 0 w 367"/>
                  <a:gd name="T7" fmla="*/ 255 h 255"/>
                  <a:gd name="T8" fmla="*/ 367 w 367"/>
                  <a:gd name="T9" fmla="*/ 255 h 255"/>
                  <a:gd name="T10" fmla="*/ 367 w 367"/>
                  <a:gd name="T11" fmla="*/ 0 h 255"/>
                  <a:gd name="T12" fmla="*/ 296 w 367"/>
                  <a:gd name="T13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7" h="255">
                    <a:moveTo>
                      <a:pt x="296" y="0"/>
                    </a:moveTo>
                    <a:lnTo>
                      <a:pt x="296" y="177"/>
                    </a:lnTo>
                    <a:lnTo>
                      <a:pt x="0" y="177"/>
                    </a:lnTo>
                    <a:lnTo>
                      <a:pt x="0" y="255"/>
                    </a:lnTo>
                    <a:lnTo>
                      <a:pt x="367" y="255"/>
                    </a:lnTo>
                    <a:lnTo>
                      <a:pt x="367" y="0"/>
                    </a:lnTo>
                    <a:lnTo>
                      <a:pt x="2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8D26C51-B040-4FC2-B37F-5972C012FEE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18887" y="1987551"/>
                <a:ext cx="463550" cy="484188"/>
              </a:xfrm>
              <a:custGeom>
                <a:avLst/>
                <a:gdLst>
                  <a:gd name="T0" fmla="*/ 243 w 243"/>
                  <a:gd name="T1" fmla="*/ 127 h 253"/>
                  <a:gd name="T2" fmla="*/ 122 w 243"/>
                  <a:gd name="T3" fmla="*/ 253 h 253"/>
                  <a:gd name="T4" fmla="*/ 0 w 243"/>
                  <a:gd name="T5" fmla="*/ 126 h 253"/>
                  <a:gd name="T6" fmla="*/ 122 w 243"/>
                  <a:gd name="T7" fmla="*/ 0 h 253"/>
                  <a:gd name="T8" fmla="*/ 243 w 243"/>
                  <a:gd name="T9" fmla="*/ 127 h 253"/>
                  <a:gd name="T10" fmla="*/ 55 w 243"/>
                  <a:gd name="T11" fmla="*/ 127 h 253"/>
                  <a:gd name="T12" fmla="*/ 122 w 243"/>
                  <a:gd name="T13" fmla="*/ 189 h 253"/>
                  <a:gd name="T14" fmla="*/ 188 w 243"/>
                  <a:gd name="T15" fmla="*/ 126 h 253"/>
                  <a:gd name="T16" fmla="*/ 122 w 243"/>
                  <a:gd name="T17" fmla="*/ 64 h 253"/>
                  <a:gd name="T18" fmla="*/ 55 w 243"/>
                  <a:gd name="T19" fmla="*/ 127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3" h="253">
                    <a:moveTo>
                      <a:pt x="243" y="127"/>
                    </a:moveTo>
                    <a:cubicBezTo>
                      <a:pt x="243" y="198"/>
                      <a:pt x="190" y="253"/>
                      <a:pt x="122" y="253"/>
                    </a:cubicBezTo>
                    <a:cubicBezTo>
                      <a:pt x="53" y="253"/>
                      <a:pt x="0" y="197"/>
                      <a:pt x="0" y="126"/>
                    </a:cubicBezTo>
                    <a:cubicBezTo>
                      <a:pt x="0" y="56"/>
                      <a:pt x="53" y="0"/>
                      <a:pt x="122" y="0"/>
                    </a:cubicBezTo>
                    <a:cubicBezTo>
                      <a:pt x="190" y="0"/>
                      <a:pt x="243" y="56"/>
                      <a:pt x="243" y="127"/>
                    </a:cubicBezTo>
                    <a:moveTo>
                      <a:pt x="55" y="127"/>
                    </a:moveTo>
                    <a:cubicBezTo>
                      <a:pt x="55" y="163"/>
                      <a:pt x="83" y="189"/>
                      <a:pt x="122" y="189"/>
                    </a:cubicBezTo>
                    <a:cubicBezTo>
                      <a:pt x="159" y="189"/>
                      <a:pt x="188" y="162"/>
                      <a:pt x="188" y="126"/>
                    </a:cubicBezTo>
                    <a:cubicBezTo>
                      <a:pt x="188" y="90"/>
                      <a:pt x="160" y="64"/>
                      <a:pt x="122" y="64"/>
                    </a:cubicBezTo>
                    <a:cubicBezTo>
                      <a:pt x="85" y="64"/>
                      <a:pt x="55" y="92"/>
                      <a:pt x="55" y="12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37678D62-51AF-470A-BDE3-8ED3FCCDE0F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18887" y="2938464"/>
                <a:ext cx="463550" cy="484188"/>
              </a:xfrm>
              <a:custGeom>
                <a:avLst/>
                <a:gdLst>
                  <a:gd name="T0" fmla="*/ 243 w 243"/>
                  <a:gd name="T1" fmla="*/ 127 h 253"/>
                  <a:gd name="T2" fmla="*/ 122 w 243"/>
                  <a:gd name="T3" fmla="*/ 253 h 253"/>
                  <a:gd name="T4" fmla="*/ 0 w 243"/>
                  <a:gd name="T5" fmla="*/ 126 h 253"/>
                  <a:gd name="T6" fmla="*/ 122 w 243"/>
                  <a:gd name="T7" fmla="*/ 0 h 253"/>
                  <a:gd name="T8" fmla="*/ 243 w 243"/>
                  <a:gd name="T9" fmla="*/ 127 h 253"/>
                  <a:gd name="T10" fmla="*/ 55 w 243"/>
                  <a:gd name="T11" fmla="*/ 127 h 253"/>
                  <a:gd name="T12" fmla="*/ 122 w 243"/>
                  <a:gd name="T13" fmla="*/ 189 h 253"/>
                  <a:gd name="T14" fmla="*/ 188 w 243"/>
                  <a:gd name="T15" fmla="*/ 126 h 253"/>
                  <a:gd name="T16" fmla="*/ 122 w 243"/>
                  <a:gd name="T17" fmla="*/ 64 h 253"/>
                  <a:gd name="T18" fmla="*/ 55 w 243"/>
                  <a:gd name="T19" fmla="*/ 127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3" h="253">
                    <a:moveTo>
                      <a:pt x="243" y="127"/>
                    </a:moveTo>
                    <a:cubicBezTo>
                      <a:pt x="243" y="198"/>
                      <a:pt x="190" y="253"/>
                      <a:pt x="122" y="253"/>
                    </a:cubicBezTo>
                    <a:cubicBezTo>
                      <a:pt x="53" y="253"/>
                      <a:pt x="0" y="197"/>
                      <a:pt x="0" y="126"/>
                    </a:cubicBezTo>
                    <a:cubicBezTo>
                      <a:pt x="0" y="56"/>
                      <a:pt x="53" y="0"/>
                      <a:pt x="122" y="0"/>
                    </a:cubicBezTo>
                    <a:cubicBezTo>
                      <a:pt x="190" y="0"/>
                      <a:pt x="243" y="56"/>
                      <a:pt x="243" y="127"/>
                    </a:cubicBezTo>
                    <a:moveTo>
                      <a:pt x="55" y="127"/>
                    </a:moveTo>
                    <a:cubicBezTo>
                      <a:pt x="55" y="163"/>
                      <a:pt x="83" y="189"/>
                      <a:pt x="122" y="189"/>
                    </a:cubicBezTo>
                    <a:cubicBezTo>
                      <a:pt x="159" y="189"/>
                      <a:pt x="188" y="162"/>
                      <a:pt x="188" y="126"/>
                    </a:cubicBezTo>
                    <a:cubicBezTo>
                      <a:pt x="188" y="90"/>
                      <a:pt x="160" y="64"/>
                      <a:pt x="122" y="64"/>
                    </a:cubicBezTo>
                    <a:cubicBezTo>
                      <a:pt x="85" y="64"/>
                      <a:pt x="55" y="92"/>
                      <a:pt x="55" y="12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6475546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80CD9248-0A2C-4050-B347-2980229F11A8}"/>
              </a:ext>
            </a:extLst>
          </p:cNvPr>
          <p:cNvGrpSpPr/>
          <p:nvPr userDrawn="1"/>
        </p:nvGrpSpPr>
        <p:grpSpPr>
          <a:xfrm rot="16200000">
            <a:off x="-21391723" y="24420750"/>
            <a:ext cx="50386824" cy="1545292"/>
            <a:chOff x="541049" y="2649538"/>
            <a:chExt cx="9285724" cy="2092325"/>
          </a:xfrm>
          <a:solidFill>
            <a:schemeClr val="bg1"/>
          </a:solidFill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99FEE917-CD84-4C97-B4F9-73DFE2A473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1049" y="2809876"/>
              <a:ext cx="963613" cy="1928813"/>
            </a:xfrm>
            <a:custGeom>
              <a:avLst/>
              <a:gdLst>
                <a:gd name="T0" fmla="*/ 57 w 301"/>
                <a:gd name="T1" fmla="*/ 458 h 600"/>
                <a:gd name="T2" fmla="*/ 57 w 301"/>
                <a:gd name="T3" fmla="*/ 235 h 600"/>
                <a:gd name="T4" fmla="*/ 0 w 301"/>
                <a:gd name="T5" fmla="*/ 235 h 600"/>
                <a:gd name="T6" fmla="*/ 0 w 301"/>
                <a:gd name="T7" fmla="*/ 121 h 600"/>
                <a:gd name="T8" fmla="*/ 57 w 301"/>
                <a:gd name="T9" fmla="*/ 121 h 600"/>
                <a:gd name="T10" fmla="*/ 57 w 301"/>
                <a:gd name="T11" fmla="*/ 0 h 600"/>
                <a:gd name="T12" fmla="*/ 190 w 301"/>
                <a:gd name="T13" fmla="*/ 0 h 600"/>
                <a:gd name="T14" fmla="*/ 190 w 301"/>
                <a:gd name="T15" fmla="*/ 121 h 600"/>
                <a:gd name="T16" fmla="*/ 301 w 301"/>
                <a:gd name="T17" fmla="*/ 121 h 600"/>
                <a:gd name="T18" fmla="*/ 301 w 301"/>
                <a:gd name="T19" fmla="*/ 235 h 600"/>
                <a:gd name="T20" fmla="*/ 190 w 301"/>
                <a:gd name="T21" fmla="*/ 235 h 600"/>
                <a:gd name="T22" fmla="*/ 190 w 301"/>
                <a:gd name="T23" fmla="*/ 436 h 600"/>
                <a:gd name="T24" fmla="*/ 233 w 301"/>
                <a:gd name="T25" fmla="*/ 482 h 600"/>
                <a:gd name="T26" fmla="*/ 299 w 301"/>
                <a:gd name="T27" fmla="*/ 465 h 600"/>
                <a:gd name="T28" fmla="*/ 299 w 301"/>
                <a:gd name="T29" fmla="*/ 573 h 600"/>
                <a:gd name="T30" fmla="*/ 194 w 301"/>
                <a:gd name="T31" fmla="*/ 600 h 600"/>
                <a:gd name="T32" fmla="*/ 57 w 301"/>
                <a:gd name="T33" fmla="*/ 458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1" h="600">
                  <a:moveTo>
                    <a:pt x="57" y="458"/>
                  </a:moveTo>
                  <a:cubicBezTo>
                    <a:pt x="57" y="235"/>
                    <a:pt x="57" y="235"/>
                    <a:pt x="57" y="235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57" y="121"/>
                    <a:pt x="57" y="121"/>
                    <a:pt x="57" y="12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301" y="121"/>
                    <a:pt x="301" y="121"/>
                    <a:pt x="301" y="121"/>
                  </a:cubicBezTo>
                  <a:cubicBezTo>
                    <a:pt x="301" y="235"/>
                    <a:pt x="301" y="235"/>
                    <a:pt x="301" y="235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90" y="436"/>
                    <a:pt x="190" y="436"/>
                    <a:pt x="190" y="436"/>
                  </a:cubicBezTo>
                  <a:cubicBezTo>
                    <a:pt x="190" y="467"/>
                    <a:pt x="203" y="482"/>
                    <a:pt x="233" y="482"/>
                  </a:cubicBezTo>
                  <a:cubicBezTo>
                    <a:pt x="258" y="482"/>
                    <a:pt x="280" y="476"/>
                    <a:pt x="299" y="465"/>
                  </a:cubicBezTo>
                  <a:cubicBezTo>
                    <a:pt x="299" y="573"/>
                    <a:pt x="299" y="573"/>
                    <a:pt x="299" y="573"/>
                  </a:cubicBezTo>
                  <a:cubicBezTo>
                    <a:pt x="271" y="590"/>
                    <a:pt x="239" y="600"/>
                    <a:pt x="194" y="600"/>
                  </a:cubicBezTo>
                  <a:cubicBezTo>
                    <a:pt x="112" y="600"/>
                    <a:pt x="57" y="568"/>
                    <a:pt x="57" y="4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78C9364A-BFFF-4F94-9D90-8A71731D63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8151" y="2649538"/>
              <a:ext cx="1382713" cy="2063750"/>
            </a:xfrm>
            <a:custGeom>
              <a:avLst/>
              <a:gdLst>
                <a:gd name="T0" fmla="*/ 0 w 432"/>
                <a:gd name="T1" fmla="*/ 0 h 642"/>
                <a:gd name="T2" fmla="*/ 134 w 432"/>
                <a:gd name="T3" fmla="*/ 0 h 642"/>
                <a:gd name="T4" fmla="*/ 134 w 432"/>
                <a:gd name="T5" fmla="*/ 237 h 642"/>
                <a:gd name="T6" fmla="*/ 272 w 432"/>
                <a:gd name="T7" fmla="*/ 162 h 642"/>
                <a:gd name="T8" fmla="*/ 432 w 432"/>
                <a:gd name="T9" fmla="*/ 337 h 642"/>
                <a:gd name="T10" fmla="*/ 432 w 432"/>
                <a:gd name="T11" fmla="*/ 642 h 642"/>
                <a:gd name="T12" fmla="*/ 298 w 432"/>
                <a:gd name="T13" fmla="*/ 642 h 642"/>
                <a:gd name="T14" fmla="*/ 298 w 432"/>
                <a:gd name="T15" fmla="*/ 379 h 642"/>
                <a:gd name="T16" fmla="*/ 218 w 432"/>
                <a:gd name="T17" fmla="*/ 283 h 642"/>
                <a:gd name="T18" fmla="*/ 134 w 432"/>
                <a:gd name="T19" fmla="*/ 379 h 642"/>
                <a:gd name="T20" fmla="*/ 134 w 432"/>
                <a:gd name="T21" fmla="*/ 642 h 642"/>
                <a:gd name="T22" fmla="*/ 0 w 432"/>
                <a:gd name="T23" fmla="*/ 642 h 642"/>
                <a:gd name="T24" fmla="*/ 0 w 432"/>
                <a:gd name="T25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2" h="642">
                  <a:moveTo>
                    <a:pt x="0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65" y="198"/>
                    <a:pt x="204" y="162"/>
                    <a:pt x="272" y="162"/>
                  </a:cubicBezTo>
                  <a:cubicBezTo>
                    <a:pt x="373" y="162"/>
                    <a:pt x="432" y="229"/>
                    <a:pt x="432" y="337"/>
                  </a:cubicBezTo>
                  <a:cubicBezTo>
                    <a:pt x="432" y="642"/>
                    <a:pt x="432" y="642"/>
                    <a:pt x="432" y="642"/>
                  </a:cubicBezTo>
                  <a:cubicBezTo>
                    <a:pt x="298" y="642"/>
                    <a:pt x="298" y="642"/>
                    <a:pt x="298" y="642"/>
                  </a:cubicBezTo>
                  <a:cubicBezTo>
                    <a:pt x="298" y="379"/>
                    <a:pt x="298" y="379"/>
                    <a:pt x="298" y="379"/>
                  </a:cubicBezTo>
                  <a:cubicBezTo>
                    <a:pt x="298" y="316"/>
                    <a:pt x="269" y="283"/>
                    <a:pt x="218" y="283"/>
                  </a:cubicBezTo>
                  <a:cubicBezTo>
                    <a:pt x="166" y="283"/>
                    <a:pt x="134" y="316"/>
                    <a:pt x="134" y="379"/>
                  </a:cubicBezTo>
                  <a:cubicBezTo>
                    <a:pt x="134" y="642"/>
                    <a:pt x="134" y="642"/>
                    <a:pt x="134" y="642"/>
                  </a:cubicBezTo>
                  <a:cubicBezTo>
                    <a:pt x="0" y="642"/>
                    <a:pt x="0" y="642"/>
                    <a:pt x="0" y="64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572E624-9DE1-4F42-A7F5-36B7B8A2F63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61304" y="3179763"/>
              <a:ext cx="1390650" cy="1562100"/>
            </a:xfrm>
            <a:custGeom>
              <a:avLst/>
              <a:gdLst>
                <a:gd name="T0" fmla="*/ 0 w 434"/>
                <a:gd name="T1" fmla="*/ 342 h 486"/>
                <a:gd name="T2" fmla="*/ 0 w 434"/>
                <a:gd name="T3" fmla="*/ 340 h 486"/>
                <a:gd name="T4" fmla="*/ 190 w 434"/>
                <a:gd name="T5" fmla="*/ 189 h 486"/>
                <a:gd name="T6" fmla="*/ 305 w 434"/>
                <a:gd name="T7" fmla="*/ 209 h 486"/>
                <a:gd name="T8" fmla="*/ 305 w 434"/>
                <a:gd name="T9" fmla="*/ 201 h 486"/>
                <a:gd name="T10" fmla="*/ 204 w 434"/>
                <a:gd name="T11" fmla="*/ 115 h 486"/>
                <a:gd name="T12" fmla="*/ 74 w 434"/>
                <a:gd name="T13" fmla="*/ 140 h 486"/>
                <a:gd name="T14" fmla="*/ 40 w 434"/>
                <a:gd name="T15" fmla="*/ 38 h 486"/>
                <a:gd name="T16" fmla="*/ 223 w 434"/>
                <a:gd name="T17" fmla="*/ 0 h 486"/>
                <a:gd name="T18" fmla="*/ 383 w 434"/>
                <a:gd name="T19" fmla="*/ 53 h 486"/>
                <a:gd name="T20" fmla="*/ 434 w 434"/>
                <a:gd name="T21" fmla="*/ 204 h 486"/>
                <a:gd name="T22" fmla="*/ 434 w 434"/>
                <a:gd name="T23" fmla="*/ 477 h 486"/>
                <a:gd name="T24" fmla="*/ 304 w 434"/>
                <a:gd name="T25" fmla="*/ 477 h 486"/>
                <a:gd name="T26" fmla="*/ 304 w 434"/>
                <a:gd name="T27" fmla="*/ 426 h 486"/>
                <a:gd name="T28" fmla="*/ 162 w 434"/>
                <a:gd name="T29" fmla="*/ 486 h 486"/>
                <a:gd name="T30" fmla="*/ 0 w 434"/>
                <a:gd name="T31" fmla="*/ 342 h 486"/>
                <a:gd name="T32" fmla="*/ 307 w 434"/>
                <a:gd name="T33" fmla="*/ 311 h 486"/>
                <a:gd name="T34" fmla="*/ 307 w 434"/>
                <a:gd name="T35" fmla="*/ 287 h 486"/>
                <a:gd name="T36" fmla="*/ 222 w 434"/>
                <a:gd name="T37" fmla="*/ 270 h 486"/>
                <a:gd name="T38" fmla="*/ 129 w 434"/>
                <a:gd name="T39" fmla="*/ 335 h 486"/>
                <a:gd name="T40" fmla="*/ 129 w 434"/>
                <a:gd name="T41" fmla="*/ 336 h 486"/>
                <a:gd name="T42" fmla="*/ 202 w 434"/>
                <a:gd name="T43" fmla="*/ 394 h 486"/>
                <a:gd name="T44" fmla="*/ 307 w 434"/>
                <a:gd name="T45" fmla="*/ 31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4" h="486">
                  <a:moveTo>
                    <a:pt x="0" y="342"/>
                  </a:moveTo>
                  <a:cubicBezTo>
                    <a:pt x="0" y="340"/>
                    <a:pt x="0" y="340"/>
                    <a:pt x="0" y="340"/>
                  </a:cubicBezTo>
                  <a:cubicBezTo>
                    <a:pt x="0" y="237"/>
                    <a:pt x="78" y="189"/>
                    <a:pt x="190" y="189"/>
                  </a:cubicBezTo>
                  <a:cubicBezTo>
                    <a:pt x="237" y="189"/>
                    <a:pt x="272" y="197"/>
                    <a:pt x="305" y="209"/>
                  </a:cubicBezTo>
                  <a:cubicBezTo>
                    <a:pt x="305" y="201"/>
                    <a:pt x="305" y="201"/>
                    <a:pt x="305" y="201"/>
                  </a:cubicBezTo>
                  <a:cubicBezTo>
                    <a:pt x="305" y="145"/>
                    <a:pt x="271" y="115"/>
                    <a:pt x="204" y="115"/>
                  </a:cubicBezTo>
                  <a:cubicBezTo>
                    <a:pt x="153" y="115"/>
                    <a:pt x="117" y="124"/>
                    <a:pt x="74" y="140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92" y="15"/>
                    <a:pt x="143" y="0"/>
                    <a:pt x="223" y="0"/>
                  </a:cubicBezTo>
                  <a:cubicBezTo>
                    <a:pt x="296" y="0"/>
                    <a:pt x="349" y="20"/>
                    <a:pt x="383" y="53"/>
                  </a:cubicBezTo>
                  <a:cubicBezTo>
                    <a:pt x="418" y="88"/>
                    <a:pt x="434" y="140"/>
                    <a:pt x="434" y="204"/>
                  </a:cubicBezTo>
                  <a:cubicBezTo>
                    <a:pt x="434" y="477"/>
                    <a:pt x="434" y="477"/>
                    <a:pt x="434" y="477"/>
                  </a:cubicBezTo>
                  <a:cubicBezTo>
                    <a:pt x="304" y="477"/>
                    <a:pt x="304" y="477"/>
                    <a:pt x="304" y="477"/>
                  </a:cubicBezTo>
                  <a:cubicBezTo>
                    <a:pt x="304" y="426"/>
                    <a:pt x="304" y="426"/>
                    <a:pt x="304" y="426"/>
                  </a:cubicBezTo>
                  <a:cubicBezTo>
                    <a:pt x="272" y="462"/>
                    <a:pt x="227" y="486"/>
                    <a:pt x="162" y="486"/>
                  </a:cubicBezTo>
                  <a:cubicBezTo>
                    <a:pt x="73" y="486"/>
                    <a:pt x="0" y="435"/>
                    <a:pt x="0" y="342"/>
                  </a:cubicBezTo>
                  <a:close/>
                  <a:moveTo>
                    <a:pt x="307" y="311"/>
                  </a:moveTo>
                  <a:cubicBezTo>
                    <a:pt x="307" y="287"/>
                    <a:pt x="307" y="287"/>
                    <a:pt x="307" y="287"/>
                  </a:cubicBezTo>
                  <a:cubicBezTo>
                    <a:pt x="284" y="277"/>
                    <a:pt x="254" y="270"/>
                    <a:pt x="222" y="270"/>
                  </a:cubicBezTo>
                  <a:cubicBezTo>
                    <a:pt x="164" y="270"/>
                    <a:pt x="129" y="292"/>
                    <a:pt x="129" y="335"/>
                  </a:cubicBezTo>
                  <a:cubicBezTo>
                    <a:pt x="129" y="336"/>
                    <a:pt x="129" y="336"/>
                    <a:pt x="129" y="336"/>
                  </a:cubicBezTo>
                  <a:cubicBezTo>
                    <a:pt x="129" y="372"/>
                    <a:pt x="159" y="394"/>
                    <a:pt x="202" y="394"/>
                  </a:cubicBezTo>
                  <a:cubicBezTo>
                    <a:pt x="265" y="394"/>
                    <a:pt x="307" y="359"/>
                    <a:pt x="307" y="3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DD8A238C-0295-48D1-8872-FE51165D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9916" y="3170238"/>
              <a:ext cx="1384300" cy="1543050"/>
            </a:xfrm>
            <a:custGeom>
              <a:avLst/>
              <a:gdLst>
                <a:gd name="T0" fmla="*/ 0 w 432"/>
                <a:gd name="T1" fmla="*/ 9 h 480"/>
                <a:gd name="T2" fmla="*/ 133 w 432"/>
                <a:gd name="T3" fmla="*/ 9 h 480"/>
                <a:gd name="T4" fmla="*/ 133 w 432"/>
                <a:gd name="T5" fmla="*/ 75 h 480"/>
                <a:gd name="T6" fmla="*/ 272 w 432"/>
                <a:gd name="T7" fmla="*/ 0 h 480"/>
                <a:gd name="T8" fmla="*/ 432 w 432"/>
                <a:gd name="T9" fmla="*/ 175 h 480"/>
                <a:gd name="T10" fmla="*/ 432 w 432"/>
                <a:gd name="T11" fmla="*/ 480 h 480"/>
                <a:gd name="T12" fmla="*/ 298 w 432"/>
                <a:gd name="T13" fmla="*/ 480 h 480"/>
                <a:gd name="T14" fmla="*/ 298 w 432"/>
                <a:gd name="T15" fmla="*/ 217 h 480"/>
                <a:gd name="T16" fmla="*/ 217 w 432"/>
                <a:gd name="T17" fmla="*/ 121 h 480"/>
                <a:gd name="T18" fmla="*/ 133 w 432"/>
                <a:gd name="T19" fmla="*/ 217 h 480"/>
                <a:gd name="T20" fmla="*/ 133 w 432"/>
                <a:gd name="T21" fmla="*/ 480 h 480"/>
                <a:gd name="T22" fmla="*/ 0 w 432"/>
                <a:gd name="T23" fmla="*/ 480 h 480"/>
                <a:gd name="T24" fmla="*/ 0 w 432"/>
                <a:gd name="T25" fmla="*/ 9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2" h="480">
                  <a:moveTo>
                    <a:pt x="0" y="9"/>
                  </a:moveTo>
                  <a:cubicBezTo>
                    <a:pt x="133" y="9"/>
                    <a:pt x="133" y="9"/>
                    <a:pt x="133" y="9"/>
                  </a:cubicBezTo>
                  <a:cubicBezTo>
                    <a:pt x="133" y="75"/>
                    <a:pt x="133" y="75"/>
                    <a:pt x="133" y="75"/>
                  </a:cubicBezTo>
                  <a:cubicBezTo>
                    <a:pt x="164" y="36"/>
                    <a:pt x="204" y="0"/>
                    <a:pt x="272" y="0"/>
                  </a:cubicBezTo>
                  <a:cubicBezTo>
                    <a:pt x="373" y="0"/>
                    <a:pt x="432" y="67"/>
                    <a:pt x="432" y="175"/>
                  </a:cubicBezTo>
                  <a:cubicBezTo>
                    <a:pt x="432" y="480"/>
                    <a:pt x="432" y="480"/>
                    <a:pt x="432" y="480"/>
                  </a:cubicBezTo>
                  <a:cubicBezTo>
                    <a:pt x="298" y="480"/>
                    <a:pt x="298" y="480"/>
                    <a:pt x="298" y="480"/>
                  </a:cubicBezTo>
                  <a:cubicBezTo>
                    <a:pt x="298" y="217"/>
                    <a:pt x="298" y="217"/>
                    <a:pt x="298" y="217"/>
                  </a:cubicBezTo>
                  <a:cubicBezTo>
                    <a:pt x="298" y="154"/>
                    <a:pt x="268" y="121"/>
                    <a:pt x="217" y="121"/>
                  </a:cubicBezTo>
                  <a:cubicBezTo>
                    <a:pt x="166" y="121"/>
                    <a:pt x="133" y="154"/>
                    <a:pt x="133" y="217"/>
                  </a:cubicBezTo>
                  <a:cubicBezTo>
                    <a:pt x="133" y="480"/>
                    <a:pt x="133" y="480"/>
                    <a:pt x="133" y="480"/>
                  </a:cubicBezTo>
                  <a:cubicBezTo>
                    <a:pt x="0" y="480"/>
                    <a:pt x="0" y="480"/>
                    <a:pt x="0" y="480"/>
                  </a:cubicBez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6849E95A-0C53-4220-85E0-6DFCEA7D1C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593" y="2649538"/>
              <a:ext cx="1460500" cy="2063750"/>
            </a:xfrm>
            <a:custGeom>
              <a:avLst/>
              <a:gdLst>
                <a:gd name="T0" fmla="*/ 0 w 920"/>
                <a:gd name="T1" fmla="*/ 0 h 1300"/>
                <a:gd name="T2" fmla="*/ 270 w 920"/>
                <a:gd name="T3" fmla="*/ 0 h 1300"/>
                <a:gd name="T4" fmla="*/ 270 w 920"/>
                <a:gd name="T5" fmla="*/ 692 h 1300"/>
                <a:gd name="T6" fmla="*/ 585 w 920"/>
                <a:gd name="T7" fmla="*/ 346 h 1300"/>
                <a:gd name="T8" fmla="*/ 908 w 920"/>
                <a:gd name="T9" fmla="*/ 346 h 1300"/>
                <a:gd name="T10" fmla="*/ 547 w 920"/>
                <a:gd name="T11" fmla="*/ 721 h 1300"/>
                <a:gd name="T12" fmla="*/ 920 w 920"/>
                <a:gd name="T13" fmla="*/ 1300 h 1300"/>
                <a:gd name="T14" fmla="*/ 609 w 920"/>
                <a:gd name="T15" fmla="*/ 1300 h 1300"/>
                <a:gd name="T16" fmla="*/ 365 w 920"/>
                <a:gd name="T17" fmla="*/ 909 h 1300"/>
                <a:gd name="T18" fmla="*/ 270 w 920"/>
                <a:gd name="T19" fmla="*/ 1010 h 1300"/>
                <a:gd name="T20" fmla="*/ 270 w 920"/>
                <a:gd name="T21" fmla="*/ 1300 h 1300"/>
                <a:gd name="T22" fmla="*/ 0 w 920"/>
                <a:gd name="T23" fmla="*/ 1300 h 1300"/>
                <a:gd name="T24" fmla="*/ 0 w 920"/>
                <a:gd name="T25" fmla="*/ 0 h 1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0" h="1300">
                  <a:moveTo>
                    <a:pt x="0" y="0"/>
                  </a:moveTo>
                  <a:lnTo>
                    <a:pt x="270" y="0"/>
                  </a:lnTo>
                  <a:lnTo>
                    <a:pt x="270" y="692"/>
                  </a:lnTo>
                  <a:lnTo>
                    <a:pt x="585" y="346"/>
                  </a:lnTo>
                  <a:lnTo>
                    <a:pt x="908" y="346"/>
                  </a:lnTo>
                  <a:lnTo>
                    <a:pt x="547" y="721"/>
                  </a:lnTo>
                  <a:lnTo>
                    <a:pt x="920" y="1300"/>
                  </a:lnTo>
                  <a:lnTo>
                    <a:pt x="609" y="1300"/>
                  </a:lnTo>
                  <a:lnTo>
                    <a:pt x="365" y="909"/>
                  </a:lnTo>
                  <a:lnTo>
                    <a:pt x="270" y="1010"/>
                  </a:lnTo>
                  <a:lnTo>
                    <a:pt x="270" y="1300"/>
                  </a:lnTo>
                  <a:lnTo>
                    <a:pt x="0" y="13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056EAF60-5381-416A-895C-D1FAED9FDF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9896" y="3173413"/>
              <a:ext cx="1227138" cy="1568450"/>
            </a:xfrm>
            <a:custGeom>
              <a:avLst/>
              <a:gdLst>
                <a:gd name="T0" fmla="*/ 0 w 383"/>
                <a:gd name="T1" fmla="*/ 417 h 488"/>
                <a:gd name="T2" fmla="*/ 57 w 383"/>
                <a:gd name="T3" fmla="*/ 329 h 488"/>
                <a:gd name="T4" fmla="*/ 206 w 383"/>
                <a:gd name="T5" fmla="*/ 385 h 488"/>
                <a:gd name="T6" fmla="*/ 262 w 383"/>
                <a:gd name="T7" fmla="*/ 350 h 488"/>
                <a:gd name="T8" fmla="*/ 262 w 383"/>
                <a:gd name="T9" fmla="*/ 348 h 488"/>
                <a:gd name="T10" fmla="*/ 165 w 383"/>
                <a:gd name="T11" fmla="*/ 294 h 488"/>
                <a:gd name="T12" fmla="*/ 24 w 383"/>
                <a:gd name="T13" fmla="*/ 152 h 488"/>
                <a:gd name="T14" fmla="*/ 24 w 383"/>
                <a:gd name="T15" fmla="*/ 150 h 488"/>
                <a:gd name="T16" fmla="*/ 196 w 383"/>
                <a:gd name="T17" fmla="*/ 0 h 488"/>
                <a:gd name="T18" fmla="*/ 372 w 383"/>
                <a:gd name="T19" fmla="*/ 55 h 488"/>
                <a:gd name="T20" fmla="*/ 321 w 383"/>
                <a:gd name="T21" fmla="*/ 147 h 488"/>
                <a:gd name="T22" fmla="*/ 194 w 383"/>
                <a:gd name="T23" fmla="*/ 103 h 488"/>
                <a:gd name="T24" fmla="*/ 144 w 383"/>
                <a:gd name="T25" fmla="*/ 136 h 488"/>
                <a:gd name="T26" fmla="*/ 144 w 383"/>
                <a:gd name="T27" fmla="*/ 138 h 488"/>
                <a:gd name="T28" fmla="*/ 240 w 383"/>
                <a:gd name="T29" fmla="*/ 194 h 488"/>
                <a:gd name="T30" fmla="*/ 383 w 383"/>
                <a:gd name="T31" fmla="*/ 334 h 488"/>
                <a:gd name="T32" fmla="*/ 383 w 383"/>
                <a:gd name="T33" fmla="*/ 336 h 488"/>
                <a:gd name="T34" fmla="*/ 203 w 383"/>
                <a:gd name="T35" fmla="*/ 488 h 488"/>
                <a:gd name="T36" fmla="*/ 0 w 383"/>
                <a:gd name="T37" fmla="*/ 417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3" h="488">
                  <a:moveTo>
                    <a:pt x="0" y="417"/>
                  </a:moveTo>
                  <a:cubicBezTo>
                    <a:pt x="57" y="329"/>
                    <a:pt x="57" y="329"/>
                    <a:pt x="57" y="329"/>
                  </a:cubicBezTo>
                  <a:cubicBezTo>
                    <a:pt x="108" y="366"/>
                    <a:pt x="162" y="385"/>
                    <a:pt x="206" y="385"/>
                  </a:cubicBezTo>
                  <a:cubicBezTo>
                    <a:pt x="245" y="385"/>
                    <a:pt x="262" y="371"/>
                    <a:pt x="262" y="350"/>
                  </a:cubicBezTo>
                  <a:cubicBezTo>
                    <a:pt x="262" y="348"/>
                    <a:pt x="262" y="348"/>
                    <a:pt x="262" y="348"/>
                  </a:cubicBezTo>
                  <a:cubicBezTo>
                    <a:pt x="262" y="319"/>
                    <a:pt x="217" y="309"/>
                    <a:pt x="165" y="294"/>
                  </a:cubicBezTo>
                  <a:cubicBezTo>
                    <a:pt x="99" y="274"/>
                    <a:pt x="24" y="243"/>
                    <a:pt x="24" y="152"/>
                  </a:cubicBezTo>
                  <a:cubicBezTo>
                    <a:pt x="24" y="150"/>
                    <a:pt x="24" y="150"/>
                    <a:pt x="24" y="150"/>
                  </a:cubicBezTo>
                  <a:cubicBezTo>
                    <a:pt x="24" y="54"/>
                    <a:pt x="101" y="0"/>
                    <a:pt x="196" y="0"/>
                  </a:cubicBezTo>
                  <a:cubicBezTo>
                    <a:pt x="256" y="0"/>
                    <a:pt x="321" y="21"/>
                    <a:pt x="372" y="55"/>
                  </a:cubicBezTo>
                  <a:cubicBezTo>
                    <a:pt x="321" y="147"/>
                    <a:pt x="321" y="147"/>
                    <a:pt x="321" y="147"/>
                  </a:cubicBezTo>
                  <a:cubicBezTo>
                    <a:pt x="275" y="120"/>
                    <a:pt x="228" y="103"/>
                    <a:pt x="194" y="103"/>
                  </a:cubicBezTo>
                  <a:cubicBezTo>
                    <a:pt x="161" y="103"/>
                    <a:pt x="144" y="118"/>
                    <a:pt x="144" y="136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64"/>
                    <a:pt x="189" y="176"/>
                    <a:pt x="240" y="194"/>
                  </a:cubicBezTo>
                  <a:cubicBezTo>
                    <a:pt x="306" y="216"/>
                    <a:pt x="383" y="248"/>
                    <a:pt x="383" y="334"/>
                  </a:cubicBezTo>
                  <a:cubicBezTo>
                    <a:pt x="383" y="336"/>
                    <a:pt x="383" y="336"/>
                    <a:pt x="383" y="336"/>
                  </a:cubicBezTo>
                  <a:cubicBezTo>
                    <a:pt x="383" y="440"/>
                    <a:pt x="305" y="488"/>
                    <a:pt x="203" y="488"/>
                  </a:cubicBezTo>
                  <a:cubicBezTo>
                    <a:pt x="137" y="488"/>
                    <a:pt x="63" y="466"/>
                    <a:pt x="0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60" name="Oval 11">
              <a:extLst>
                <a:ext uri="{FF2B5EF4-FFF2-40B4-BE49-F238E27FC236}">
                  <a16:creationId xmlns:a16="http://schemas.microsoft.com/office/drawing/2014/main" id="{0154DA0C-208D-4580-AFAD-81B221FB1E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82260" y="4167188"/>
              <a:ext cx="544513" cy="5461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1F1F6355-08A9-4C09-B618-1C445A02E219}"/>
              </a:ext>
            </a:extLst>
          </p:cNvPr>
          <p:cNvGrpSpPr/>
          <p:nvPr userDrawn="1"/>
        </p:nvGrpSpPr>
        <p:grpSpPr>
          <a:xfrm>
            <a:off x="7047165" y="12319998"/>
            <a:ext cx="5146427" cy="25759974"/>
            <a:chOff x="7045325" y="1676401"/>
            <a:chExt cx="5145087" cy="3505200"/>
          </a:xfrm>
        </p:grpSpPr>
        <p:sp>
          <p:nvSpPr>
            <p:cNvPr id="106" name="Freeform 5">
              <a:extLst>
                <a:ext uri="{FF2B5EF4-FFF2-40B4-BE49-F238E27FC236}">
                  <a16:creationId xmlns:a16="http://schemas.microsoft.com/office/drawing/2014/main" id="{B42EB7FA-FF17-4B14-9DA1-B0E656D461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45325" y="1676401"/>
              <a:ext cx="5145087" cy="3505200"/>
            </a:xfrm>
            <a:custGeom>
              <a:avLst/>
              <a:gdLst>
                <a:gd name="T0" fmla="*/ 717 w 2697"/>
                <a:gd name="T1" fmla="*/ 241 h 1832"/>
                <a:gd name="T2" fmla="*/ 698 w 2697"/>
                <a:gd name="T3" fmla="*/ 358 h 1832"/>
                <a:gd name="T4" fmla="*/ 755 w 2697"/>
                <a:gd name="T5" fmla="*/ 353 h 1832"/>
                <a:gd name="T6" fmla="*/ 952 w 2697"/>
                <a:gd name="T7" fmla="*/ 431 h 1832"/>
                <a:gd name="T8" fmla="*/ 1077 w 2697"/>
                <a:gd name="T9" fmla="*/ 299 h 1832"/>
                <a:gd name="T10" fmla="*/ 769 w 2697"/>
                <a:gd name="T11" fmla="*/ 229 h 1832"/>
                <a:gd name="T12" fmla="*/ 1219 w 2697"/>
                <a:gd name="T13" fmla="*/ 431 h 1832"/>
                <a:gd name="T14" fmla="*/ 1120 w 2697"/>
                <a:gd name="T15" fmla="*/ 287 h 1832"/>
                <a:gd name="T16" fmla="*/ 1089 w 2697"/>
                <a:gd name="T17" fmla="*/ 373 h 1832"/>
                <a:gd name="T18" fmla="*/ 1175 w 2697"/>
                <a:gd name="T19" fmla="*/ 395 h 1832"/>
                <a:gd name="T20" fmla="*/ 1412 w 2697"/>
                <a:gd name="T21" fmla="*/ 225 h 1832"/>
                <a:gd name="T22" fmla="*/ 1348 w 2697"/>
                <a:gd name="T23" fmla="*/ 356 h 1832"/>
                <a:gd name="T24" fmla="*/ 1505 w 2697"/>
                <a:gd name="T25" fmla="*/ 364 h 1832"/>
                <a:gd name="T26" fmla="*/ 1448 w 2697"/>
                <a:gd name="T27" fmla="*/ 177 h 1832"/>
                <a:gd name="T28" fmla="*/ 1666 w 2697"/>
                <a:gd name="T29" fmla="*/ 435 h 1832"/>
                <a:gd name="T30" fmla="*/ 1758 w 2697"/>
                <a:gd name="T31" fmla="*/ 335 h 1832"/>
                <a:gd name="T32" fmla="*/ 1703 w 2697"/>
                <a:gd name="T33" fmla="*/ 314 h 1832"/>
                <a:gd name="T34" fmla="*/ 1892 w 2697"/>
                <a:gd name="T35" fmla="*/ 225 h 1832"/>
                <a:gd name="T36" fmla="*/ 1828 w 2697"/>
                <a:gd name="T37" fmla="*/ 356 h 1832"/>
                <a:gd name="T38" fmla="*/ 24 w 2697"/>
                <a:gd name="T39" fmla="*/ 634 h 1832"/>
                <a:gd name="T40" fmla="*/ 81 w 2697"/>
                <a:gd name="T41" fmla="*/ 720 h 1832"/>
                <a:gd name="T42" fmla="*/ 237 w 2697"/>
                <a:gd name="T43" fmla="*/ 581 h 1832"/>
                <a:gd name="T44" fmla="*/ 243 w 2697"/>
                <a:gd name="T45" fmla="*/ 745 h 1832"/>
                <a:gd name="T46" fmla="*/ 237 w 2697"/>
                <a:gd name="T47" fmla="*/ 627 h 1832"/>
                <a:gd name="T48" fmla="*/ 450 w 2697"/>
                <a:gd name="T49" fmla="*/ 631 h 1832"/>
                <a:gd name="T50" fmla="*/ 449 w 2697"/>
                <a:gd name="T51" fmla="*/ 791 h 1832"/>
                <a:gd name="T52" fmla="*/ 598 w 2697"/>
                <a:gd name="T53" fmla="*/ 512 h 1832"/>
                <a:gd name="T54" fmla="*/ 669 w 2697"/>
                <a:gd name="T55" fmla="*/ 674 h 1832"/>
                <a:gd name="T56" fmla="*/ 798 w 2697"/>
                <a:gd name="T57" fmla="*/ 614 h 1832"/>
                <a:gd name="T58" fmla="*/ 833 w 2697"/>
                <a:gd name="T59" fmla="*/ 633 h 1832"/>
                <a:gd name="T60" fmla="*/ 1155 w 2697"/>
                <a:gd name="T61" fmla="*/ 686 h 1832"/>
                <a:gd name="T62" fmla="*/ 1155 w 2697"/>
                <a:gd name="T63" fmla="*/ 686 h 1832"/>
                <a:gd name="T64" fmla="*/ 1047 w 2697"/>
                <a:gd name="T65" fmla="*/ 742 h 1832"/>
                <a:gd name="T66" fmla="*/ 1167 w 2697"/>
                <a:gd name="T67" fmla="*/ 787 h 1832"/>
                <a:gd name="T68" fmla="*/ 1453 w 2697"/>
                <a:gd name="T69" fmla="*/ 686 h 1832"/>
                <a:gd name="T70" fmla="*/ 1344 w 2697"/>
                <a:gd name="T71" fmla="*/ 631 h 1832"/>
                <a:gd name="T72" fmla="*/ 1562 w 2697"/>
                <a:gd name="T73" fmla="*/ 848 h 1832"/>
                <a:gd name="T74" fmla="*/ 1552 w 2697"/>
                <a:gd name="T75" fmla="*/ 581 h 1832"/>
                <a:gd name="T76" fmla="*/ 1560 w 2697"/>
                <a:gd name="T77" fmla="*/ 802 h 1832"/>
                <a:gd name="T78" fmla="*/ 1618 w 2697"/>
                <a:gd name="T79" fmla="*/ 676 h 1832"/>
                <a:gd name="T80" fmla="*/ 1743 w 2697"/>
                <a:gd name="T81" fmla="*/ 801 h 1832"/>
                <a:gd name="T82" fmla="*/ 1834 w 2697"/>
                <a:gd name="T83" fmla="*/ 585 h 1832"/>
                <a:gd name="T84" fmla="*/ 1101 w 2697"/>
                <a:gd name="T85" fmla="*/ 940 h 1832"/>
                <a:gd name="T86" fmla="*/ 974 w 2697"/>
                <a:gd name="T87" fmla="*/ 965 h 1832"/>
                <a:gd name="T88" fmla="*/ 1101 w 2697"/>
                <a:gd name="T89" fmla="*/ 1012 h 1832"/>
                <a:gd name="T90" fmla="*/ 1318 w 2697"/>
                <a:gd name="T91" fmla="*/ 1064 h 1832"/>
                <a:gd name="T92" fmla="*/ 1156 w 2697"/>
                <a:gd name="T93" fmla="*/ 1063 h 1832"/>
                <a:gd name="T94" fmla="*/ 1332 w 2697"/>
                <a:gd name="T95" fmla="*/ 963 h 1832"/>
                <a:gd name="T96" fmla="*/ 1453 w 2697"/>
                <a:gd name="T97" fmla="*/ 959 h 1832"/>
                <a:gd name="T98" fmla="*/ 1657 w 2697"/>
                <a:gd name="T99" fmla="*/ 1046 h 1832"/>
                <a:gd name="T100" fmla="*/ 1657 w 2697"/>
                <a:gd name="T101" fmla="*/ 1143 h 1832"/>
                <a:gd name="T102" fmla="*/ 1658 w 2697"/>
                <a:gd name="T103" fmla="*/ 1094 h 1832"/>
                <a:gd name="T104" fmla="*/ 1658 w 2697"/>
                <a:gd name="T105" fmla="*/ 1094 h 1832"/>
                <a:gd name="T106" fmla="*/ 1817 w 2697"/>
                <a:gd name="T107" fmla="*/ 1165 h 1832"/>
                <a:gd name="T108" fmla="*/ 2086 w 2697"/>
                <a:gd name="T109" fmla="*/ 1832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97" h="1832">
                  <a:moveTo>
                    <a:pt x="755" y="352"/>
                  </a:moveTo>
                  <a:cubicBezTo>
                    <a:pt x="755" y="306"/>
                    <a:pt x="725" y="287"/>
                    <a:pt x="672" y="273"/>
                  </a:cubicBezTo>
                  <a:cubicBezTo>
                    <a:pt x="626" y="261"/>
                    <a:pt x="615" y="256"/>
                    <a:pt x="615" y="238"/>
                  </a:cubicBezTo>
                  <a:cubicBezTo>
                    <a:pt x="615" y="238"/>
                    <a:pt x="615" y="238"/>
                    <a:pt x="615" y="238"/>
                  </a:cubicBezTo>
                  <a:cubicBezTo>
                    <a:pt x="615" y="225"/>
                    <a:pt x="626" y="215"/>
                    <a:pt x="649" y="215"/>
                  </a:cubicBezTo>
                  <a:cubicBezTo>
                    <a:pt x="671" y="215"/>
                    <a:pt x="694" y="224"/>
                    <a:pt x="717" y="241"/>
                  </a:cubicBezTo>
                  <a:cubicBezTo>
                    <a:pt x="747" y="197"/>
                    <a:pt x="747" y="197"/>
                    <a:pt x="747" y="197"/>
                  </a:cubicBezTo>
                  <a:cubicBezTo>
                    <a:pt x="720" y="175"/>
                    <a:pt x="688" y="163"/>
                    <a:pt x="649" y="163"/>
                  </a:cubicBezTo>
                  <a:cubicBezTo>
                    <a:pt x="595" y="163"/>
                    <a:pt x="557" y="195"/>
                    <a:pt x="557" y="243"/>
                  </a:cubicBezTo>
                  <a:cubicBezTo>
                    <a:pt x="557" y="244"/>
                    <a:pt x="557" y="244"/>
                    <a:pt x="557" y="244"/>
                  </a:cubicBezTo>
                  <a:cubicBezTo>
                    <a:pt x="557" y="296"/>
                    <a:pt x="591" y="311"/>
                    <a:pt x="644" y="324"/>
                  </a:cubicBezTo>
                  <a:cubicBezTo>
                    <a:pt x="688" y="335"/>
                    <a:pt x="698" y="343"/>
                    <a:pt x="698" y="358"/>
                  </a:cubicBezTo>
                  <a:cubicBezTo>
                    <a:pt x="698" y="358"/>
                    <a:pt x="698" y="358"/>
                    <a:pt x="698" y="358"/>
                  </a:cubicBezTo>
                  <a:cubicBezTo>
                    <a:pt x="698" y="374"/>
                    <a:pt x="683" y="383"/>
                    <a:pt x="659" y="383"/>
                  </a:cubicBezTo>
                  <a:cubicBezTo>
                    <a:pt x="629" y="383"/>
                    <a:pt x="605" y="371"/>
                    <a:pt x="581" y="351"/>
                  </a:cubicBezTo>
                  <a:cubicBezTo>
                    <a:pt x="547" y="392"/>
                    <a:pt x="547" y="392"/>
                    <a:pt x="547" y="392"/>
                  </a:cubicBezTo>
                  <a:cubicBezTo>
                    <a:pt x="578" y="421"/>
                    <a:pt x="618" y="435"/>
                    <a:pt x="658" y="435"/>
                  </a:cubicBezTo>
                  <a:cubicBezTo>
                    <a:pt x="715" y="435"/>
                    <a:pt x="755" y="405"/>
                    <a:pt x="755" y="353"/>
                  </a:cubicBezTo>
                  <a:lnTo>
                    <a:pt x="755" y="352"/>
                  </a:lnTo>
                  <a:close/>
                  <a:moveTo>
                    <a:pt x="826" y="318"/>
                  </a:moveTo>
                  <a:cubicBezTo>
                    <a:pt x="826" y="291"/>
                    <a:pt x="839" y="277"/>
                    <a:pt x="861" y="277"/>
                  </a:cubicBezTo>
                  <a:cubicBezTo>
                    <a:pt x="882" y="277"/>
                    <a:pt x="894" y="291"/>
                    <a:pt x="894" y="318"/>
                  </a:cubicBezTo>
                  <a:cubicBezTo>
                    <a:pt x="894" y="431"/>
                    <a:pt x="894" y="431"/>
                    <a:pt x="894" y="431"/>
                  </a:cubicBezTo>
                  <a:cubicBezTo>
                    <a:pt x="952" y="431"/>
                    <a:pt x="952" y="431"/>
                    <a:pt x="952" y="431"/>
                  </a:cubicBezTo>
                  <a:cubicBezTo>
                    <a:pt x="952" y="318"/>
                    <a:pt x="952" y="318"/>
                    <a:pt x="952" y="318"/>
                  </a:cubicBezTo>
                  <a:cubicBezTo>
                    <a:pt x="952" y="291"/>
                    <a:pt x="965" y="277"/>
                    <a:pt x="986" y="277"/>
                  </a:cubicBezTo>
                  <a:cubicBezTo>
                    <a:pt x="1008" y="277"/>
                    <a:pt x="1020" y="291"/>
                    <a:pt x="1020" y="318"/>
                  </a:cubicBezTo>
                  <a:cubicBezTo>
                    <a:pt x="1020" y="431"/>
                    <a:pt x="1020" y="431"/>
                    <a:pt x="1020" y="431"/>
                  </a:cubicBezTo>
                  <a:cubicBezTo>
                    <a:pt x="1077" y="431"/>
                    <a:pt x="1077" y="431"/>
                    <a:pt x="1077" y="431"/>
                  </a:cubicBezTo>
                  <a:cubicBezTo>
                    <a:pt x="1077" y="299"/>
                    <a:pt x="1077" y="299"/>
                    <a:pt x="1077" y="299"/>
                  </a:cubicBezTo>
                  <a:cubicBezTo>
                    <a:pt x="1077" y="251"/>
                    <a:pt x="1051" y="225"/>
                    <a:pt x="1009" y="225"/>
                  </a:cubicBezTo>
                  <a:cubicBezTo>
                    <a:pt x="981" y="225"/>
                    <a:pt x="960" y="236"/>
                    <a:pt x="943" y="257"/>
                  </a:cubicBezTo>
                  <a:cubicBezTo>
                    <a:pt x="932" y="237"/>
                    <a:pt x="912" y="225"/>
                    <a:pt x="886" y="225"/>
                  </a:cubicBezTo>
                  <a:cubicBezTo>
                    <a:pt x="857" y="225"/>
                    <a:pt x="839" y="241"/>
                    <a:pt x="826" y="258"/>
                  </a:cubicBezTo>
                  <a:cubicBezTo>
                    <a:pt x="826" y="229"/>
                    <a:pt x="826" y="229"/>
                    <a:pt x="826" y="229"/>
                  </a:cubicBezTo>
                  <a:cubicBezTo>
                    <a:pt x="769" y="229"/>
                    <a:pt x="769" y="229"/>
                    <a:pt x="769" y="229"/>
                  </a:cubicBezTo>
                  <a:cubicBezTo>
                    <a:pt x="769" y="431"/>
                    <a:pt x="769" y="431"/>
                    <a:pt x="769" y="431"/>
                  </a:cubicBezTo>
                  <a:cubicBezTo>
                    <a:pt x="826" y="431"/>
                    <a:pt x="826" y="431"/>
                    <a:pt x="826" y="431"/>
                  </a:cubicBezTo>
                  <a:lnTo>
                    <a:pt x="826" y="318"/>
                  </a:lnTo>
                  <a:close/>
                  <a:moveTo>
                    <a:pt x="1158" y="435"/>
                  </a:moveTo>
                  <a:cubicBezTo>
                    <a:pt x="1186" y="435"/>
                    <a:pt x="1205" y="424"/>
                    <a:pt x="1219" y="409"/>
                  </a:cubicBezTo>
                  <a:cubicBezTo>
                    <a:pt x="1219" y="431"/>
                    <a:pt x="1219" y="431"/>
                    <a:pt x="1219" y="431"/>
                  </a:cubicBezTo>
                  <a:cubicBezTo>
                    <a:pt x="1274" y="431"/>
                    <a:pt x="1274" y="431"/>
                    <a:pt x="1274" y="431"/>
                  </a:cubicBezTo>
                  <a:cubicBezTo>
                    <a:pt x="1274" y="314"/>
                    <a:pt x="1274" y="314"/>
                    <a:pt x="1274" y="314"/>
                  </a:cubicBezTo>
                  <a:cubicBezTo>
                    <a:pt x="1274" y="287"/>
                    <a:pt x="1268" y="264"/>
                    <a:pt x="1253" y="249"/>
                  </a:cubicBezTo>
                  <a:cubicBezTo>
                    <a:pt x="1238" y="235"/>
                    <a:pt x="1216" y="227"/>
                    <a:pt x="1184" y="227"/>
                  </a:cubicBezTo>
                  <a:cubicBezTo>
                    <a:pt x="1150" y="227"/>
                    <a:pt x="1128" y="233"/>
                    <a:pt x="1106" y="243"/>
                  </a:cubicBezTo>
                  <a:cubicBezTo>
                    <a:pt x="1120" y="287"/>
                    <a:pt x="1120" y="287"/>
                    <a:pt x="1120" y="287"/>
                  </a:cubicBezTo>
                  <a:cubicBezTo>
                    <a:pt x="1139" y="280"/>
                    <a:pt x="1154" y="276"/>
                    <a:pt x="1176" y="276"/>
                  </a:cubicBezTo>
                  <a:cubicBezTo>
                    <a:pt x="1205" y="276"/>
                    <a:pt x="1219" y="289"/>
                    <a:pt x="1219" y="313"/>
                  </a:cubicBezTo>
                  <a:cubicBezTo>
                    <a:pt x="1219" y="316"/>
                    <a:pt x="1219" y="316"/>
                    <a:pt x="1219" y="316"/>
                  </a:cubicBezTo>
                  <a:cubicBezTo>
                    <a:pt x="1205" y="311"/>
                    <a:pt x="1190" y="308"/>
                    <a:pt x="1170" y="308"/>
                  </a:cubicBezTo>
                  <a:cubicBezTo>
                    <a:pt x="1122" y="308"/>
                    <a:pt x="1089" y="328"/>
                    <a:pt x="1089" y="372"/>
                  </a:cubicBezTo>
                  <a:cubicBezTo>
                    <a:pt x="1089" y="373"/>
                    <a:pt x="1089" y="373"/>
                    <a:pt x="1089" y="373"/>
                  </a:cubicBezTo>
                  <a:cubicBezTo>
                    <a:pt x="1089" y="413"/>
                    <a:pt x="1120" y="435"/>
                    <a:pt x="1158" y="435"/>
                  </a:cubicBezTo>
                  <a:close/>
                  <a:moveTo>
                    <a:pt x="1144" y="370"/>
                  </a:moveTo>
                  <a:cubicBezTo>
                    <a:pt x="1144" y="352"/>
                    <a:pt x="1159" y="342"/>
                    <a:pt x="1184" y="342"/>
                  </a:cubicBezTo>
                  <a:cubicBezTo>
                    <a:pt x="1198" y="342"/>
                    <a:pt x="1210" y="345"/>
                    <a:pt x="1220" y="349"/>
                  </a:cubicBezTo>
                  <a:cubicBezTo>
                    <a:pt x="1220" y="360"/>
                    <a:pt x="1220" y="360"/>
                    <a:pt x="1220" y="360"/>
                  </a:cubicBezTo>
                  <a:cubicBezTo>
                    <a:pt x="1220" y="380"/>
                    <a:pt x="1202" y="395"/>
                    <a:pt x="1175" y="395"/>
                  </a:cubicBezTo>
                  <a:cubicBezTo>
                    <a:pt x="1157" y="395"/>
                    <a:pt x="1144" y="386"/>
                    <a:pt x="1144" y="371"/>
                  </a:cubicBezTo>
                  <a:lnTo>
                    <a:pt x="1144" y="370"/>
                  </a:lnTo>
                  <a:close/>
                  <a:moveTo>
                    <a:pt x="1348" y="356"/>
                  </a:moveTo>
                  <a:cubicBezTo>
                    <a:pt x="1348" y="308"/>
                    <a:pt x="1371" y="285"/>
                    <a:pt x="1409" y="285"/>
                  </a:cubicBezTo>
                  <a:cubicBezTo>
                    <a:pt x="1412" y="285"/>
                    <a:pt x="1412" y="285"/>
                    <a:pt x="1412" y="285"/>
                  </a:cubicBezTo>
                  <a:cubicBezTo>
                    <a:pt x="1412" y="225"/>
                    <a:pt x="1412" y="225"/>
                    <a:pt x="1412" y="225"/>
                  </a:cubicBezTo>
                  <a:cubicBezTo>
                    <a:pt x="1378" y="224"/>
                    <a:pt x="1360" y="242"/>
                    <a:pt x="1348" y="270"/>
                  </a:cubicBezTo>
                  <a:cubicBezTo>
                    <a:pt x="1348" y="229"/>
                    <a:pt x="1348" y="229"/>
                    <a:pt x="1348" y="229"/>
                  </a:cubicBezTo>
                  <a:cubicBezTo>
                    <a:pt x="1291" y="229"/>
                    <a:pt x="1291" y="229"/>
                    <a:pt x="1291" y="229"/>
                  </a:cubicBezTo>
                  <a:cubicBezTo>
                    <a:pt x="1291" y="431"/>
                    <a:pt x="1291" y="431"/>
                    <a:pt x="1291" y="431"/>
                  </a:cubicBezTo>
                  <a:cubicBezTo>
                    <a:pt x="1348" y="431"/>
                    <a:pt x="1348" y="431"/>
                    <a:pt x="1348" y="431"/>
                  </a:cubicBezTo>
                  <a:lnTo>
                    <a:pt x="1348" y="356"/>
                  </a:lnTo>
                  <a:close/>
                  <a:moveTo>
                    <a:pt x="1448" y="374"/>
                  </a:moveTo>
                  <a:cubicBezTo>
                    <a:pt x="1448" y="420"/>
                    <a:pt x="1472" y="434"/>
                    <a:pt x="1507" y="434"/>
                  </a:cubicBezTo>
                  <a:cubicBezTo>
                    <a:pt x="1526" y="434"/>
                    <a:pt x="1540" y="430"/>
                    <a:pt x="1552" y="422"/>
                  </a:cubicBezTo>
                  <a:cubicBezTo>
                    <a:pt x="1552" y="377"/>
                    <a:pt x="1552" y="377"/>
                    <a:pt x="1552" y="377"/>
                  </a:cubicBezTo>
                  <a:cubicBezTo>
                    <a:pt x="1543" y="381"/>
                    <a:pt x="1534" y="384"/>
                    <a:pt x="1524" y="384"/>
                  </a:cubicBezTo>
                  <a:cubicBezTo>
                    <a:pt x="1511" y="384"/>
                    <a:pt x="1505" y="377"/>
                    <a:pt x="1505" y="364"/>
                  </a:cubicBezTo>
                  <a:cubicBezTo>
                    <a:pt x="1505" y="278"/>
                    <a:pt x="1505" y="278"/>
                    <a:pt x="1505" y="278"/>
                  </a:cubicBezTo>
                  <a:cubicBezTo>
                    <a:pt x="1553" y="278"/>
                    <a:pt x="1553" y="278"/>
                    <a:pt x="1553" y="278"/>
                  </a:cubicBezTo>
                  <a:cubicBezTo>
                    <a:pt x="1553" y="229"/>
                    <a:pt x="1553" y="229"/>
                    <a:pt x="1553" y="229"/>
                  </a:cubicBezTo>
                  <a:cubicBezTo>
                    <a:pt x="1505" y="229"/>
                    <a:pt x="1505" y="229"/>
                    <a:pt x="1505" y="229"/>
                  </a:cubicBezTo>
                  <a:cubicBezTo>
                    <a:pt x="1505" y="177"/>
                    <a:pt x="1505" y="177"/>
                    <a:pt x="1505" y="177"/>
                  </a:cubicBezTo>
                  <a:cubicBezTo>
                    <a:pt x="1448" y="177"/>
                    <a:pt x="1448" y="177"/>
                    <a:pt x="1448" y="177"/>
                  </a:cubicBezTo>
                  <a:cubicBezTo>
                    <a:pt x="1448" y="229"/>
                    <a:pt x="1448" y="229"/>
                    <a:pt x="1448" y="229"/>
                  </a:cubicBezTo>
                  <a:cubicBezTo>
                    <a:pt x="1424" y="229"/>
                    <a:pt x="1424" y="229"/>
                    <a:pt x="1424" y="229"/>
                  </a:cubicBezTo>
                  <a:cubicBezTo>
                    <a:pt x="1424" y="278"/>
                    <a:pt x="1424" y="278"/>
                    <a:pt x="1424" y="278"/>
                  </a:cubicBezTo>
                  <a:cubicBezTo>
                    <a:pt x="1448" y="278"/>
                    <a:pt x="1448" y="278"/>
                    <a:pt x="1448" y="278"/>
                  </a:cubicBezTo>
                  <a:lnTo>
                    <a:pt x="1448" y="374"/>
                  </a:lnTo>
                  <a:close/>
                  <a:moveTo>
                    <a:pt x="1666" y="435"/>
                  </a:moveTo>
                  <a:cubicBezTo>
                    <a:pt x="1702" y="435"/>
                    <a:pt x="1729" y="421"/>
                    <a:pt x="1748" y="398"/>
                  </a:cubicBezTo>
                  <a:cubicBezTo>
                    <a:pt x="1715" y="369"/>
                    <a:pt x="1715" y="369"/>
                    <a:pt x="1715" y="369"/>
                  </a:cubicBezTo>
                  <a:cubicBezTo>
                    <a:pt x="1700" y="383"/>
                    <a:pt x="1686" y="389"/>
                    <a:pt x="1666" y="389"/>
                  </a:cubicBezTo>
                  <a:cubicBezTo>
                    <a:pt x="1641" y="389"/>
                    <a:pt x="1623" y="376"/>
                    <a:pt x="1617" y="350"/>
                  </a:cubicBezTo>
                  <a:cubicBezTo>
                    <a:pt x="1758" y="350"/>
                    <a:pt x="1758" y="350"/>
                    <a:pt x="1758" y="350"/>
                  </a:cubicBezTo>
                  <a:cubicBezTo>
                    <a:pt x="1758" y="345"/>
                    <a:pt x="1758" y="339"/>
                    <a:pt x="1758" y="335"/>
                  </a:cubicBezTo>
                  <a:cubicBezTo>
                    <a:pt x="1758" y="277"/>
                    <a:pt x="1727" y="225"/>
                    <a:pt x="1660" y="225"/>
                  </a:cubicBezTo>
                  <a:cubicBezTo>
                    <a:pt x="1601" y="225"/>
                    <a:pt x="1560" y="273"/>
                    <a:pt x="1560" y="330"/>
                  </a:cubicBezTo>
                  <a:cubicBezTo>
                    <a:pt x="1560" y="331"/>
                    <a:pt x="1560" y="331"/>
                    <a:pt x="1560" y="331"/>
                  </a:cubicBezTo>
                  <a:cubicBezTo>
                    <a:pt x="1560" y="393"/>
                    <a:pt x="1605" y="435"/>
                    <a:pt x="1666" y="435"/>
                  </a:cubicBezTo>
                  <a:close/>
                  <a:moveTo>
                    <a:pt x="1660" y="271"/>
                  </a:moveTo>
                  <a:cubicBezTo>
                    <a:pt x="1684" y="271"/>
                    <a:pt x="1699" y="288"/>
                    <a:pt x="1703" y="314"/>
                  </a:cubicBezTo>
                  <a:cubicBezTo>
                    <a:pt x="1616" y="314"/>
                    <a:pt x="1616" y="314"/>
                    <a:pt x="1616" y="314"/>
                  </a:cubicBezTo>
                  <a:cubicBezTo>
                    <a:pt x="1621" y="288"/>
                    <a:pt x="1636" y="271"/>
                    <a:pt x="1660" y="271"/>
                  </a:cubicBezTo>
                  <a:close/>
                  <a:moveTo>
                    <a:pt x="1828" y="356"/>
                  </a:moveTo>
                  <a:cubicBezTo>
                    <a:pt x="1828" y="308"/>
                    <a:pt x="1851" y="285"/>
                    <a:pt x="1889" y="285"/>
                  </a:cubicBezTo>
                  <a:cubicBezTo>
                    <a:pt x="1892" y="285"/>
                    <a:pt x="1892" y="285"/>
                    <a:pt x="1892" y="285"/>
                  </a:cubicBezTo>
                  <a:cubicBezTo>
                    <a:pt x="1892" y="225"/>
                    <a:pt x="1892" y="225"/>
                    <a:pt x="1892" y="225"/>
                  </a:cubicBezTo>
                  <a:cubicBezTo>
                    <a:pt x="1858" y="224"/>
                    <a:pt x="1839" y="242"/>
                    <a:pt x="1828" y="270"/>
                  </a:cubicBezTo>
                  <a:cubicBezTo>
                    <a:pt x="1828" y="229"/>
                    <a:pt x="1828" y="229"/>
                    <a:pt x="1828" y="229"/>
                  </a:cubicBezTo>
                  <a:cubicBezTo>
                    <a:pt x="1770" y="229"/>
                    <a:pt x="1770" y="229"/>
                    <a:pt x="1770" y="229"/>
                  </a:cubicBezTo>
                  <a:cubicBezTo>
                    <a:pt x="1770" y="431"/>
                    <a:pt x="1770" y="431"/>
                    <a:pt x="1770" y="431"/>
                  </a:cubicBezTo>
                  <a:cubicBezTo>
                    <a:pt x="1828" y="431"/>
                    <a:pt x="1828" y="431"/>
                    <a:pt x="1828" y="431"/>
                  </a:cubicBezTo>
                  <a:lnTo>
                    <a:pt x="1828" y="356"/>
                  </a:lnTo>
                  <a:close/>
                  <a:moveTo>
                    <a:pt x="81" y="533"/>
                  </a:moveTo>
                  <a:cubicBezTo>
                    <a:pt x="24" y="533"/>
                    <a:pt x="24" y="533"/>
                    <a:pt x="24" y="533"/>
                  </a:cubicBezTo>
                  <a:cubicBezTo>
                    <a:pt x="24" y="585"/>
                    <a:pt x="24" y="585"/>
                    <a:pt x="24" y="585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0" y="634"/>
                    <a:pt x="0" y="634"/>
                    <a:pt x="0" y="634"/>
                  </a:cubicBezTo>
                  <a:cubicBezTo>
                    <a:pt x="24" y="634"/>
                    <a:pt x="24" y="634"/>
                    <a:pt x="24" y="634"/>
                  </a:cubicBezTo>
                  <a:cubicBezTo>
                    <a:pt x="24" y="730"/>
                    <a:pt x="24" y="730"/>
                    <a:pt x="24" y="730"/>
                  </a:cubicBezTo>
                  <a:cubicBezTo>
                    <a:pt x="24" y="776"/>
                    <a:pt x="48" y="790"/>
                    <a:pt x="83" y="790"/>
                  </a:cubicBezTo>
                  <a:cubicBezTo>
                    <a:pt x="102" y="790"/>
                    <a:pt x="116" y="786"/>
                    <a:pt x="128" y="779"/>
                  </a:cubicBezTo>
                  <a:cubicBezTo>
                    <a:pt x="128" y="733"/>
                    <a:pt x="128" y="733"/>
                    <a:pt x="128" y="733"/>
                  </a:cubicBezTo>
                  <a:cubicBezTo>
                    <a:pt x="120" y="737"/>
                    <a:pt x="110" y="740"/>
                    <a:pt x="100" y="740"/>
                  </a:cubicBezTo>
                  <a:cubicBezTo>
                    <a:pt x="87" y="740"/>
                    <a:pt x="81" y="733"/>
                    <a:pt x="81" y="720"/>
                  </a:cubicBezTo>
                  <a:cubicBezTo>
                    <a:pt x="81" y="634"/>
                    <a:pt x="81" y="634"/>
                    <a:pt x="81" y="634"/>
                  </a:cubicBezTo>
                  <a:cubicBezTo>
                    <a:pt x="129" y="634"/>
                    <a:pt x="129" y="634"/>
                    <a:pt x="129" y="634"/>
                  </a:cubicBezTo>
                  <a:cubicBezTo>
                    <a:pt x="129" y="585"/>
                    <a:pt x="129" y="585"/>
                    <a:pt x="129" y="585"/>
                  </a:cubicBezTo>
                  <a:cubicBezTo>
                    <a:pt x="81" y="585"/>
                    <a:pt x="81" y="585"/>
                    <a:pt x="81" y="585"/>
                  </a:cubicBezTo>
                  <a:lnTo>
                    <a:pt x="81" y="533"/>
                  </a:lnTo>
                  <a:close/>
                  <a:moveTo>
                    <a:pt x="237" y="581"/>
                  </a:moveTo>
                  <a:cubicBezTo>
                    <a:pt x="178" y="581"/>
                    <a:pt x="137" y="629"/>
                    <a:pt x="137" y="686"/>
                  </a:cubicBezTo>
                  <a:cubicBezTo>
                    <a:pt x="137" y="687"/>
                    <a:pt x="137" y="687"/>
                    <a:pt x="137" y="687"/>
                  </a:cubicBezTo>
                  <a:cubicBezTo>
                    <a:pt x="137" y="749"/>
                    <a:pt x="182" y="791"/>
                    <a:pt x="243" y="791"/>
                  </a:cubicBezTo>
                  <a:cubicBezTo>
                    <a:pt x="279" y="791"/>
                    <a:pt x="306" y="777"/>
                    <a:pt x="325" y="754"/>
                  </a:cubicBezTo>
                  <a:cubicBezTo>
                    <a:pt x="292" y="725"/>
                    <a:pt x="292" y="725"/>
                    <a:pt x="292" y="725"/>
                  </a:cubicBezTo>
                  <a:cubicBezTo>
                    <a:pt x="277" y="739"/>
                    <a:pt x="263" y="745"/>
                    <a:pt x="243" y="745"/>
                  </a:cubicBezTo>
                  <a:cubicBezTo>
                    <a:pt x="218" y="745"/>
                    <a:pt x="200" y="732"/>
                    <a:pt x="194" y="706"/>
                  </a:cubicBezTo>
                  <a:cubicBezTo>
                    <a:pt x="335" y="706"/>
                    <a:pt x="335" y="706"/>
                    <a:pt x="335" y="706"/>
                  </a:cubicBezTo>
                  <a:cubicBezTo>
                    <a:pt x="335" y="701"/>
                    <a:pt x="335" y="695"/>
                    <a:pt x="335" y="691"/>
                  </a:cubicBezTo>
                  <a:cubicBezTo>
                    <a:pt x="335" y="634"/>
                    <a:pt x="304" y="581"/>
                    <a:pt x="237" y="581"/>
                  </a:cubicBezTo>
                  <a:close/>
                  <a:moveTo>
                    <a:pt x="193" y="670"/>
                  </a:moveTo>
                  <a:cubicBezTo>
                    <a:pt x="198" y="644"/>
                    <a:pt x="213" y="627"/>
                    <a:pt x="237" y="627"/>
                  </a:cubicBezTo>
                  <a:cubicBezTo>
                    <a:pt x="261" y="627"/>
                    <a:pt x="276" y="644"/>
                    <a:pt x="280" y="670"/>
                  </a:cubicBezTo>
                  <a:lnTo>
                    <a:pt x="193" y="670"/>
                  </a:lnTo>
                  <a:close/>
                  <a:moveTo>
                    <a:pt x="452" y="742"/>
                  </a:moveTo>
                  <a:cubicBezTo>
                    <a:pt x="421" y="742"/>
                    <a:pt x="401" y="717"/>
                    <a:pt x="401" y="686"/>
                  </a:cubicBezTo>
                  <a:cubicBezTo>
                    <a:pt x="401" y="686"/>
                    <a:pt x="401" y="686"/>
                    <a:pt x="401" y="686"/>
                  </a:cubicBezTo>
                  <a:cubicBezTo>
                    <a:pt x="401" y="656"/>
                    <a:pt x="421" y="631"/>
                    <a:pt x="450" y="631"/>
                  </a:cubicBezTo>
                  <a:cubicBezTo>
                    <a:pt x="470" y="631"/>
                    <a:pt x="483" y="639"/>
                    <a:pt x="496" y="653"/>
                  </a:cubicBezTo>
                  <a:cubicBezTo>
                    <a:pt x="531" y="615"/>
                    <a:pt x="531" y="615"/>
                    <a:pt x="531" y="615"/>
                  </a:cubicBezTo>
                  <a:cubicBezTo>
                    <a:pt x="512" y="594"/>
                    <a:pt x="488" y="581"/>
                    <a:pt x="450" y="581"/>
                  </a:cubicBezTo>
                  <a:cubicBezTo>
                    <a:pt x="388" y="581"/>
                    <a:pt x="344" y="629"/>
                    <a:pt x="344" y="686"/>
                  </a:cubicBezTo>
                  <a:cubicBezTo>
                    <a:pt x="344" y="687"/>
                    <a:pt x="344" y="687"/>
                    <a:pt x="344" y="687"/>
                  </a:cubicBezTo>
                  <a:cubicBezTo>
                    <a:pt x="344" y="745"/>
                    <a:pt x="389" y="791"/>
                    <a:pt x="449" y="791"/>
                  </a:cubicBezTo>
                  <a:cubicBezTo>
                    <a:pt x="490" y="791"/>
                    <a:pt x="512" y="776"/>
                    <a:pt x="532" y="754"/>
                  </a:cubicBezTo>
                  <a:cubicBezTo>
                    <a:pt x="498" y="721"/>
                    <a:pt x="498" y="721"/>
                    <a:pt x="498" y="721"/>
                  </a:cubicBezTo>
                  <a:cubicBezTo>
                    <a:pt x="485" y="734"/>
                    <a:pt x="471" y="742"/>
                    <a:pt x="452" y="742"/>
                  </a:cubicBezTo>
                  <a:close/>
                  <a:moveTo>
                    <a:pt x="657" y="581"/>
                  </a:moveTo>
                  <a:cubicBezTo>
                    <a:pt x="628" y="581"/>
                    <a:pt x="611" y="597"/>
                    <a:pt x="598" y="614"/>
                  </a:cubicBezTo>
                  <a:cubicBezTo>
                    <a:pt x="598" y="512"/>
                    <a:pt x="598" y="512"/>
                    <a:pt x="598" y="512"/>
                  </a:cubicBezTo>
                  <a:cubicBezTo>
                    <a:pt x="541" y="512"/>
                    <a:pt x="541" y="512"/>
                    <a:pt x="541" y="512"/>
                  </a:cubicBezTo>
                  <a:cubicBezTo>
                    <a:pt x="541" y="787"/>
                    <a:pt x="541" y="787"/>
                    <a:pt x="541" y="787"/>
                  </a:cubicBezTo>
                  <a:cubicBezTo>
                    <a:pt x="598" y="787"/>
                    <a:pt x="598" y="787"/>
                    <a:pt x="598" y="787"/>
                  </a:cubicBezTo>
                  <a:cubicBezTo>
                    <a:pt x="598" y="674"/>
                    <a:pt x="598" y="674"/>
                    <a:pt x="598" y="674"/>
                  </a:cubicBezTo>
                  <a:cubicBezTo>
                    <a:pt x="598" y="647"/>
                    <a:pt x="612" y="633"/>
                    <a:pt x="634" y="633"/>
                  </a:cubicBezTo>
                  <a:cubicBezTo>
                    <a:pt x="656" y="633"/>
                    <a:pt x="669" y="647"/>
                    <a:pt x="669" y="674"/>
                  </a:cubicBezTo>
                  <a:cubicBezTo>
                    <a:pt x="669" y="787"/>
                    <a:pt x="669" y="787"/>
                    <a:pt x="669" y="787"/>
                  </a:cubicBezTo>
                  <a:cubicBezTo>
                    <a:pt x="726" y="787"/>
                    <a:pt x="726" y="787"/>
                    <a:pt x="726" y="787"/>
                  </a:cubicBezTo>
                  <a:cubicBezTo>
                    <a:pt x="726" y="656"/>
                    <a:pt x="726" y="656"/>
                    <a:pt x="726" y="656"/>
                  </a:cubicBezTo>
                  <a:cubicBezTo>
                    <a:pt x="726" y="610"/>
                    <a:pt x="701" y="581"/>
                    <a:pt x="657" y="581"/>
                  </a:cubicBezTo>
                  <a:close/>
                  <a:moveTo>
                    <a:pt x="857" y="581"/>
                  </a:moveTo>
                  <a:cubicBezTo>
                    <a:pt x="828" y="581"/>
                    <a:pt x="811" y="597"/>
                    <a:pt x="798" y="614"/>
                  </a:cubicBezTo>
                  <a:cubicBezTo>
                    <a:pt x="798" y="585"/>
                    <a:pt x="798" y="585"/>
                    <a:pt x="798" y="585"/>
                  </a:cubicBezTo>
                  <a:cubicBezTo>
                    <a:pt x="740" y="585"/>
                    <a:pt x="740" y="585"/>
                    <a:pt x="740" y="585"/>
                  </a:cubicBezTo>
                  <a:cubicBezTo>
                    <a:pt x="740" y="787"/>
                    <a:pt x="740" y="787"/>
                    <a:pt x="740" y="787"/>
                  </a:cubicBezTo>
                  <a:cubicBezTo>
                    <a:pt x="798" y="787"/>
                    <a:pt x="798" y="787"/>
                    <a:pt x="798" y="787"/>
                  </a:cubicBezTo>
                  <a:cubicBezTo>
                    <a:pt x="798" y="674"/>
                    <a:pt x="798" y="674"/>
                    <a:pt x="798" y="674"/>
                  </a:cubicBezTo>
                  <a:cubicBezTo>
                    <a:pt x="798" y="647"/>
                    <a:pt x="812" y="633"/>
                    <a:pt x="833" y="633"/>
                  </a:cubicBezTo>
                  <a:cubicBezTo>
                    <a:pt x="855" y="633"/>
                    <a:pt x="868" y="647"/>
                    <a:pt x="868" y="674"/>
                  </a:cubicBezTo>
                  <a:cubicBezTo>
                    <a:pt x="868" y="787"/>
                    <a:pt x="868" y="787"/>
                    <a:pt x="868" y="787"/>
                  </a:cubicBezTo>
                  <a:cubicBezTo>
                    <a:pt x="925" y="787"/>
                    <a:pt x="925" y="787"/>
                    <a:pt x="925" y="787"/>
                  </a:cubicBezTo>
                  <a:cubicBezTo>
                    <a:pt x="925" y="656"/>
                    <a:pt x="925" y="656"/>
                    <a:pt x="925" y="656"/>
                  </a:cubicBezTo>
                  <a:cubicBezTo>
                    <a:pt x="925" y="610"/>
                    <a:pt x="900" y="581"/>
                    <a:pt x="857" y="581"/>
                  </a:cubicBezTo>
                  <a:close/>
                  <a:moveTo>
                    <a:pt x="1155" y="686"/>
                  </a:moveTo>
                  <a:cubicBezTo>
                    <a:pt x="1155" y="686"/>
                    <a:pt x="1155" y="686"/>
                    <a:pt x="1155" y="686"/>
                  </a:cubicBezTo>
                  <a:cubicBezTo>
                    <a:pt x="1155" y="628"/>
                    <a:pt x="1109" y="581"/>
                    <a:pt x="1047" y="581"/>
                  </a:cubicBezTo>
                  <a:cubicBezTo>
                    <a:pt x="984" y="581"/>
                    <a:pt x="937" y="628"/>
                    <a:pt x="937" y="686"/>
                  </a:cubicBezTo>
                  <a:cubicBezTo>
                    <a:pt x="937" y="687"/>
                    <a:pt x="937" y="687"/>
                    <a:pt x="937" y="687"/>
                  </a:cubicBezTo>
                  <a:cubicBezTo>
                    <a:pt x="937" y="745"/>
                    <a:pt x="983" y="791"/>
                    <a:pt x="1046" y="791"/>
                  </a:cubicBezTo>
                  <a:cubicBezTo>
                    <a:pt x="1109" y="791"/>
                    <a:pt x="1155" y="744"/>
                    <a:pt x="1155" y="686"/>
                  </a:cubicBezTo>
                  <a:close/>
                  <a:moveTo>
                    <a:pt x="993" y="686"/>
                  </a:moveTo>
                  <a:cubicBezTo>
                    <a:pt x="993" y="686"/>
                    <a:pt x="993" y="686"/>
                    <a:pt x="993" y="686"/>
                  </a:cubicBezTo>
                  <a:cubicBezTo>
                    <a:pt x="993" y="656"/>
                    <a:pt x="1013" y="631"/>
                    <a:pt x="1046" y="631"/>
                  </a:cubicBezTo>
                  <a:cubicBezTo>
                    <a:pt x="1077" y="631"/>
                    <a:pt x="1099" y="657"/>
                    <a:pt x="1099" y="686"/>
                  </a:cubicBezTo>
                  <a:cubicBezTo>
                    <a:pt x="1099" y="687"/>
                    <a:pt x="1099" y="687"/>
                    <a:pt x="1099" y="687"/>
                  </a:cubicBezTo>
                  <a:cubicBezTo>
                    <a:pt x="1099" y="717"/>
                    <a:pt x="1079" y="742"/>
                    <a:pt x="1047" y="742"/>
                  </a:cubicBezTo>
                  <a:cubicBezTo>
                    <a:pt x="1015" y="742"/>
                    <a:pt x="993" y="716"/>
                    <a:pt x="993" y="686"/>
                  </a:cubicBezTo>
                  <a:close/>
                  <a:moveTo>
                    <a:pt x="1167" y="787"/>
                  </a:moveTo>
                  <a:cubicBezTo>
                    <a:pt x="1224" y="787"/>
                    <a:pt x="1224" y="787"/>
                    <a:pt x="1224" y="787"/>
                  </a:cubicBezTo>
                  <a:cubicBezTo>
                    <a:pt x="1224" y="512"/>
                    <a:pt x="1224" y="512"/>
                    <a:pt x="1224" y="512"/>
                  </a:cubicBezTo>
                  <a:cubicBezTo>
                    <a:pt x="1167" y="512"/>
                    <a:pt x="1167" y="512"/>
                    <a:pt x="1167" y="512"/>
                  </a:cubicBezTo>
                  <a:lnTo>
                    <a:pt x="1167" y="787"/>
                  </a:lnTo>
                  <a:close/>
                  <a:moveTo>
                    <a:pt x="1345" y="581"/>
                  </a:moveTo>
                  <a:cubicBezTo>
                    <a:pt x="1282" y="581"/>
                    <a:pt x="1235" y="628"/>
                    <a:pt x="1235" y="686"/>
                  </a:cubicBezTo>
                  <a:cubicBezTo>
                    <a:pt x="1235" y="687"/>
                    <a:pt x="1235" y="687"/>
                    <a:pt x="1235" y="687"/>
                  </a:cubicBezTo>
                  <a:cubicBezTo>
                    <a:pt x="1235" y="745"/>
                    <a:pt x="1281" y="791"/>
                    <a:pt x="1344" y="791"/>
                  </a:cubicBezTo>
                  <a:cubicBezTo>
                    <a:pt x="1407" y="791"/>
                    <a:pt x="1453" y="744"/>
                    <a:pt x="1453" y="686"/>
                  </a:cubicBezTo>
                  <a:cubicBezTo>
                    <a:pt x="1453" y="686"/>
                    <a:pt x="1453" y="686"/>
                    <a:pt x="1453" y="686"/>
                  </a:cubicBezTo>
                  <a:cubicBezTo>
                    <a:pt x="1453" y="628"/>
                    <a:pt x="1407" y="581"/>
                    <a:pt x="1345" y="581"/>
                  </a:cubicBezTo>
                  <a:close/>
                  <a:moveTo>
                    <a:pt x="1397" y="687"/>
                  </a:moveTo>
                  <a:cubicBezTo>
                    <a:pt x="1397" y="717"/>
                    <a:pt x="1377" y="742"/>
                    <a:pt x="1345" y="742"/>
                  </a:cubicBezTo>
                  <a:cubicBezTo>
                    <a:pt x="1313" y="742"/>
                    <a:pt x="1292" y="716"/>
                    <a:pt x="1292" y="686"/>
                  </a:cubicBezTo>
                  <a:cubicBezTo>
                    <a:pt x="1292" y="686"/>
                    <a:pt x="1292" y="686"/>
                    <a:pt x="1292" y="686"/>
                  </a:cubicBezTo>
                  <a:cubicBezTo>
                    <a:pt x="1292" y="656"/>
                    <a:pt x="1311" y="631"/>
                    <a:pt x="1344" y="631"/>
                  </a:cubicBezTo>
                  <a:cubicBezTo>
                    <a:pt x="1375" y="631"/>
                    <a:pt x="1397" y="657"/>
                    <a:pt x="1397" y="686"/>
                  </a:cubicBezTo>
                  <a:lnTo>
                    <a:pt x="1397" y="687"/>
                  </a:lnTo>
                  <a:close/>
                  <a:moveTo>
                    <a:pt x="1560" y="802"/>
                  </a:moveTo>
                  <a:cubicBezTo>
                    <a:pt x="1533" y="802"/>
                    <a:pt x="1513" y="795"/>
                    <a:pt x="1492" y="784"/>
                  </a:cubicBezTo>
                  <a:cubicBezTo>
                    <a:pt x="1472" y="827"/>
                    <a:pt x="1472" y="827"/>
                    <a:pt x="1472" y="827"/>
                  </a:cubicBezTo>
                  <a:cubicBezTo>
                    <a:pt x="1498" y="840"/>
                    <a:pt x="1529" y="848"/>
                    <a:pt x="1562" y="848"/>
                  </a:cubicBezTo>
                  <a:cubicBezTo>
                    <a:pt x="1601" y="848"/>
                    <a:pt x="1630" y="840"/>
                    <a:pt x="1649" y="821"/>
                  </a:cubicBezTo>
                  <a:cubicBezTo>
                    <a:pt x="1666" y="804"/>
                    <a:pt x="1674" y="777"/>
                    <a:pt x="1674" y="741"/>
                  </a:cubicBezTo>
                  <a:cubicBezTo>
                    <a:pt x="1674" y="585"/>
                    <a:pt x="1674" y="585"/>
                    <a:pt x="1674" y="585"/>
                  </a:cubicBezTo>
                  <a:cubicBezTo>
                    <a:pt x="1617" y="585"/>
                    <a:pt x="1617" y="585"/>
                    <a:pt x="1617" y="585"/>
                  </a:cubicBezTo>
                  <a:cubicBezTo>
                    <a:pt x="1617" y="611"/>
                    <a:pt x="1617" y="611"/>
                    <a:pt x="1617" y="611"/>
                  </a:cubicBezTo>
                  <a:cubicBezTo>
                    <a:pt x="1602" y="594"/>
                    <a:pt x="1583" y="581"/>
                    <a:pt x="1552" y="581"/>
                  </a:cubicBezTo>
                  <a:cubicBezTo>
                    <a:pt x="1505" y="581"/>
                    <a:pt x="1462" y="615"/>
                    <a:pt x="1462" y="675"/>
                  </a:cubicBezTo>
                  <a:cubicBezTo>
                    <a:pt x="1462" y="676"/>
                    <a:pt x="1462" y="676"/>
                    <a:pt x="1462" y="676"/>
                  </a:cubicBezTo>
                  <a:cubicBezTo>
                    <a:pt x="1462" y="736"/>
                    <a:pt x="1505" y="770"/>
                    <a:pt x="1552" y="770"/>
                  </a:cubicBezTo>
                  <a:cubicBezTo>
                    <a:pt x="1582" y="770"/>
                    <a:pt x="1601" y="758"/>
                    <a:pt x="1618" y="737"/>
                  </a:cubicBezTo>
                  <a:cubicBezTo>
                    <a:pt x="1618" y="747"/>
                    <a:pt x="1618" y="747"/>
                    <a:pt x="1618" y="747"/>
                  </a:cubicBezTo>
                  <a:cubicBezTo>
                    <a:pt x="1618" y="783"/>
                    <a:pt x="1599" y="802"/>
                    <a:pt x="1560" y="802"/>
                  </a:cubicBezTo>
                  <a:close/>
                  <a:moveTo>
                    <a:pt x="1568" y="723"/>
                  </a:moveTo>
                  <a:cubicBezTo>
                    <a:pt x="1541" y="723"/>
                    <a:pt x="1519" y="704"/>
                    <a:pt x="1519" y="676"/>
                  </a:cubicBezTo>
                  <a:cubicBezTo>
                    <a:pt x="1519" y="675"/>
                    <a:pt x="1519" y="675"/>
                    <a:pt x="1519" y="675"/>
                  </a:cubicBezTo>
                  <a:cubicBezTo>
                    <a:pt x="1519" y="648"/>
                    <a:pt x="1541" y="629"/>
                    <a:pt x="1568" y="629"/>
                  </a:cubicBezTo>
                  <a:cubicBezTo>
                    <a:pt x="1596" y="629"/>
                    <a:pt x="1618" y="648"/>
                    <a:pt x="1618" y="675"/>
                  </a:cubicBezTo>
                  <a:cubicBezTo>
                    <a:pt x="1618" y="676"/>
                    <a:pt x="1618" y="676"/>
                    <a:pt x="1618" y="676"/>
                  </a:cubicBezTo>
                  <a:cubicBezTo>
                    <a:pt x="1618" y="704"/>
                    <a:pt x="1596" y="723"/>
                    <a:pt x="1568" y="723"/>
                  </a:cubicBezTo>
                  <a:close/>
                  <a:moveTo>
                    <a:pt x="1790" y="722"/>
                  </a:moveTo>
                  <a:cubicBezTo>
                    <a:pt x="1744" y="585"/>
                    <a:pt x="1744" y="585"/>
                    <a:pt x="1744" y="585"/>
                  </a:cubicBezTo>
                  <a:cubicBezTo>
                    <a:pt x="1684" y="585"/>
                    <a:pt x="1684" y="585"/>
                    <a:pt x="1684" y="585"/>
                  </a:cubicBezTo>
                  <a:cubicBezTo>
                    <a:pt x="1763" y="788"/>
                    <a:pt x="1763" y="788"/>
                    <a:pt x="1763" y="788"/>
                  </a:cubicBezTo>
                  <a:cubicBezTo>
                    <a:pt x="1758" y="798"/>
                    <a:pt x="1753" y="801"/>
                    <a:pt x="1743" y="801"/>
                  </a:cubicBezTo>
                  <a:cubicBezTo>
                    <a:pt x="1735" y="801"/>
                    <a:pt x="1726" y="797"/>
                    <a:pt x="1718" y="793"/>
                  </a:cubicBezTo>
                  <a:cubicBezTo>
                    <a:pt x="1699" y="834"/>
                    <a:pt x="1699" y="834"/>
                    <a:pt x="1699" y="834"/>
                  </a:cubicBezTo>
                  <a:cubicBezTo>
                    <a:pt x="1714" y="843"/>
                    <a:pt x="1729" y="848"/>
                    <a:pt x="1750" y="848"/>
                  </a:cubicBezTo>
                  <a:cubicBezTo>
                    <a:pt x="1784" y="848"/>
                    <a:pt x="1801" y="833"/>
                    <a:pt x="1816" y="792"/>
                  </a:cubicBezTo>
                  <a:cubicBezTo>
                    <a:pt x="1894" y="585"/>
                    <a:pt x="1894" y="585"/>
                    <a:pt x="1894" y="585"/>
                  </a:cubicBezTo>
                  <a:cubicBezTo>
                    <a:pt x="1834" y="585"/>
                    <a:pt x="1834" y="585"/>
                    <a:pt x="1834" y="585"/>
                  </a:cubicBezTo>
                  <a:lnTo>
                    <a:pt x="1790" y="722"/>
                  </a:lnTo>
                  <a:close/>
                  <a:moveTo>
                    <a:pt x="1101" y="965"/>
                  </a:moveTo>
                  <a:cubicBezTo>
                    <a:pt x="1054" y="965"/>
                    <a:pt x="1054" y="965"/>
                    <a:pt x="1054" y="965"/>
                  </a:cubicBezTo>
                  <a:cubicBezTo>
                    <a:pt x="1054" y="957"/>
                    <a:pt x="1054" y="957"/>
                    <a:pt x="1054" y="957"/>
                  </a:cubicBezTo>
                  <a:cubicBezTo>
                    <a:pt x="1054" y="942"/>
                    <a:pt x="1062" y="935"/>
                    <a:pt x="1075" y="935"/>
                  </a:cubicBezTo>
                  <a:cubicBezTo>
                    <a:pt x="1085" y="935"/>
                    <a:pt x="1093" y="937"/>
                    <a:pt x="1101" y="940"/>
                  </a:cubicBezTo>
                  <a:cubicBezTo>
                    <a:pt x="1101" y="893"/>
                    <a:pt x="1101" y="893"/>
                    <a:pt x="1101" y="893"/>
                  </a:cubicBezTo>
                  <a:cubicBezTo>
                    <a:pt x="1091" y="889"/>
                    <a:pt x="1078" y="887"/>
                    <a:pt x="1060" y="887"/>
                  </a:cubicBezTo>
                  <a:cubicBezTo>
                    <a:pt x="1040" y="887"/>
                    <a:pt x="1025" y="892"/>
                    <a:pt x="1014" y="903"/>
                  </a:cubicBezTo>
                  <a:cubicBezTo>
                    <a:pt x="1004" y="914"/>
                    <a:pt x="998" y="930"/>
                    <a:pt x="998" y="952"/>
                  </a:cubicBezTo>
                  <a:cubicBezTo>
                    <a:pt x="998" y="965"/>
                    <a:pt x="998" y="965"/>
                    <a:pt x="998" y="965"/>
                  </a:cubicBezTo>
                  <a:cubicBezTo>
                    <a:pt x="974" y="965"/>
                    <a:pt x="974" y="965"/>
                    <a:pt x="974" y="965"/>
                  </a:cubicBezTo>
                  <a:cubicBezTo>
                    <a:pt x="974" y="1012"/>
                    <a:pt x="974" y="1012"/>
                    <a:pt x="974" y="1012"/>
                  </a:cubicBezTo>
                  <a:cubicBezTo>
                    <a:pt x="998" y="1012"/>
                    <a:pt x="998" y="1012"/>
                    <a:pt x="998" y="1012"/>
                  </a:cubicBezTo>
                  <a:cubicBezTo>
                    <a:pt x="998" y="1165"/>
                    <a:pt x="998" y="1165"/>
                    <a:pt x="998" y="1165"/>
                  </a:cubicBezTo>
                  <a:cubicBezTo>
                    <a:pt x="1055" y="1165"/>
                    <a:pt x="1055" y="1165"/>
                    <a:pt x="1055" y="1165"/>
                  </a:cubicBezTo>
                  <a:cubicBezTo>
                    <a:pt x="1055" y="1012"/>
                    <a:pt x="1055" y="1012"/>
                    <a:pt x="1055" y="1012"/>
                  </a:cubicBezTo>
                  <a:cubicBezTo>
                    <a:pt x="1101" y="1012"/>
                    <a:pt x="1101" y="1012"/>
                    <a:pt x="1101" y="1012"/>
                  </a:cubicBezTo>
                  <a:lnTo>
                    <a:pt x="1101" y="965"/>
                  </a:lnTo>
                  <a:close/>
                  <a:moveTo>
                    <a:pt x="1209" y="959"/>
                  </a:moveTo>
                  <a:cubicBezTo>
                    <a:pt x="1147" y="959"/>
                    <a:pt x="1100" y="1006"/>
                    <a:pt x="1100" y="1064"/>
                  </a:cubicBezTo>
                  <a:cubicBezTo>
                    <a:pt x="1100" y="1065"/>
                    <a:pt x="1100" y="1065"/>
                    <a:pt x="1100" y="1065"/>
                  </a:cubicBezTo>
                  <a:cubicBezTo>
                    <a:pt x="1100" y="1123"/>
                    <a:pt x="1146" y="1169"/>
                    <a:pt x="1209" y="1169"/>
                  </a:cubicBezTo>
                  <a:cubicBezTo>
                    <a:pt x="1272" y="1169"/>
                    <a:pt x="1318" y="1122"/>
                    <a:pt x="1318" y="1064"/>
                  </a:cubicBezTo>
                  <a:cubicBezTo>
                    <a:pt x="1318" y="1063"/>
                    <a:pt x="1318" y="1063"/>
                    <a:pt x="1318" y="1063"/>
                  </a:cubicBezTo>
                  <a:cubicBezTo>
                    <a:pt x="1318" y="1005"/>
                    <a:pt x="1272" y="959"/>
                    <a:pt x="1209" y="959"/>
                  </a:cubicBezTo>
                  <a:close/>
                  <a:moveTo>
                    <a:pt x="1262" y="1065"/>
                  </a:moveTo>
                  <a:cubicBezTo>
                    <a:pt x="1262" y="1095"/>
                    <a:pt x="1242" y="1120"/>
                    <a:pt x="1209" y="1120"/>
                  </a:cubicBezTo>
                  <a:cubicBezTo>
                    <a:pt x="1178" y="1120"/>
                    <a:pt x="1156" y="1094"/>
                    <a:pt x="1156" y="1064"/>
                  </a:cubicBezTo>
                  <a:cubicBezTo>
                    <a:pt x="1156" y="1063"/>
                    <a:pt x="1156" y="1063"/>
                    <a:pt x="1156" y="1063"/>
                  </a:cubicBezTo>
                  <a:cubicBezTo>
                    <a:pt x="1156" y="1034"/>
                    <a:pt x="1176" y="1008"/>
                    <a:pt x="1209" y="1008"/>
                  </a:cubicBezTo>
                  <a:cubicBezTo>
                    <a:pt x="1240" y="1008"/>
                    <a:pt x="1262" y="1034"/>
                    <a:pt x="1262" y="1064"/>
                  </a:cubicBezTo>
                  <a:lnTo>
                    <a:pt x="1262" y="1065"/>
                  </a:lnTo>
                  <a:close/>
                  <a:moveTo>
                    <a:pt x="1389" y="1004"/>
                  </a:moveTo>
                  <a:cubicBezTo>
                    <a:pt x="1389" y="963"/>
                    <a:pt x="1389" y="963"/>
                    <a:pt x="1389" y="963"/>
                  </a:cubicBezTo>
                  <a:cubicBezTo>
                    <a:pt x="1332" y="963"/>
                    <a:pt x="1332" y="963"/>
                    <a:pt x="1332" y="963"/>
                  </a:cubicBezTo>
                  <a:cubicBezTo>
                    <a:pt x="1332" y="1165"/>
                    <a:pt x="1332" y="1165"/>
                    <a:pt x="1332" y="1165"/>
                  </a:cubicBezTo>
                  <a:cubicBezTo>
                    <a:pt x="1389" y="1165"/>
                    <a:pt x="1389" y="1165"/>
                    <a:pt x="1389" y="1165"/>
                  </a:cubicBezTo>
                  <a:cubicBezTo>
                    <a:pt x="1389" y="1090"/>
                    <a:pt x="1389" y="1090"/>
                    <a:pt x="1389" y="1090"/>
                  </a:cubicBezTo>
                  <a:cubicBezTo>
                    <a:pt x="1389" y="1042"/>
                    <a:pt x="1412" y="1019"/>
                    <a:pt x="1450" y="1019"/>
                  </a:cubicBezTo>
                  <a:cubicBezTo>
                    <a:pt x="1453" y="1019"/>
                    <a:pt x="1453" y="1019"/>
                    <a:pt x="1453" y="1019"/>
                  </a:cubicBezTo>
                  <a:cubicBezTo>
                    <a:pt x="1453" y="959"/>
                    <a:pt x="1453" y="959"/>
                    <a:pt x="1453" y="959"/>
                  </a:cubicBezTo>
                  <a:cubicBezTo>
                    <a:pt x="1419" y="958"/>
                    <a:pt x="1400" y="976"/>
                    <a:pt x="1389" y="1004"/>
                  </a:cubicBezTo>
                  <a:close/>
                  <a:moveTo>
                    <a:pt x="1622" y="961"/>
                  </a:moveTo>
                  <a:cubicBezTo>
                    <a:pt x="1588" y="961"/>
                    <a:pt x="1566" y="967"/>
                    <a:pt x="1544" y="977"/>
                  </a:cubicBezTo>
                  <a:cubicBezTo>
                    <a:pt x="1558" y="1020"/>
                    <a:pt x="1558" y="1020"/>
                    <a:pt x="1558" y="1020"/>
                  </a:cubicBezTo>
                  <a:cubicBezTo>
                    <a:pt x="1576" y="1014"/>
                    <a:pt x="1592" y="1010"/>
                    <a:pt x="1614" y="1010"/>
                  </a:cubicBezTo>
                  <a:cubicBezTo>
                    <a:pt x="1642" y="1010"/>
                    <a:pt x="1657" y="1023"/>
                    <a:pt x="1657" y="1046"/>
                  </a:cubicBezTo>
                  <a:cubicBezTo>
                    <a:pt x="1657" y="1050"/>
                    <a:pt x="1657" y="1050"/>
                    <a:pt x="1657" y="1050"/>
                  </a:cubicBezTo>
                  <a:cubicBezTo>
                    <a:pt x="1643" y="1045"/>
                    <a:pt x="1628" y="1042"/>
                    <a:pt x="1608" y="1042"/>
                  </a:cubicBezTo>
                  <a:cubicBezTo>
                    <a:pt x="1560" y="1042"/>
                    <a:pt x="1526" y="1062"/>
                    <a:pt x="1526" y="1106"/>
                  </a:cubicBezTo>
                  <a:cubicBezTo>
                    <a:pt x="1526" y="1107"/>
                    <a:pt x="1526" y="1107"/>
                    <a:pt x="1526" y="1107"/>
                  </a:cubicBezTo>
                  <a:cubicBezTo>
                    <a:pt x="1526" y="1147"/>
                    <a:pt x="1558" y="1168"/>
                    <a:pt x="1596" y="1168"/>
                  </a:cubicBezTo>
                  <a:cubicBezTo>
                    <a:pt x="1624" y="1168"/>
                    <a:pt x="1643" y="1158"/>
                    <a:pt x="1657" y="1143"/>
                  </a:cubicBezTo>
                  <a:cubicBezTo>
                    <a:pt x="1657" y="1165"/>
                    <a:pt x="1657" y="1165"/>
                    <a:pt x="1657" y="1165"/>
                  </a:cubicBezTo>
                  <a:cubicBezTo>
                    <a:pt x="1712" y="1165"/>
                    <a:pt x="1712" y="1165"/>
                    <a:pt x="1712" y="1165"/>
                  </a:cubicBezTo>
                  <a:cubicBezTo>
                    <a:pt x="1712" y="1048"/>
                    <a:pt x="1712" y="1048"/>
                    <a:pt x="1712" y="1048"/>
                  </a:cubicBezTo>
                  <a:cubicBezTo>
                    <a:pt x="1712" y="1020"/>
                    <a:pt x="1705" y="998"/>
                    <a:pt x="1690" y="983"/>
                  </a:cubicBezTo>
                  <a:cubicBezTo>
                    <a:pt x="1676" y="969"/>
                    <a:pt x="1653" y="961"/>
                    <a:pt x="1622" y="961"/>
                  </a:cubicBezTo>
                  <a:close/>
                  <a:moveTo>
                    <a:pt x="1658" y="1094"/>
                  </a:moveTo>
                  <a:cubicBezTo>
                    <a:pt x="1658" y="1114"/>
                    <a:pt x="1640" y="1129"/>
                    <a:pt x="1613" y="1129"/>
                  </a:cubicBezTo>
                  <a:cubicBezTo>
                    <a:pt x="1595" y="1129"/>
                    <a:pt x="1582" y="1120"/>
                    <a:pt x="1582" y="1104"/>
                  </a:cubicBezTo>
                  <a:cubicBezTo>
                    <a:pt x="1582" y="1104"/>
                    <a:pt x="1582" y="1104"/>
                    <a:pt x="1582" y="1104"/>
                  </a:cubicBezTo>
                  <a:cubicBezTo>
                    <a:pt x="1582" y="1086"/>
                    <a:pt x="1597" y="1076"/>
                    <a:pt x="1621" y="1076"/>
                  </a:cubicBezTo>
                  <a:cubicBezTo>
                    <a:pt x="1635" y="1076"/>
                    <a:pt x="1648" y="1079"/>
                    <a:pt x="1658" y="1083"/>
                  </a:cubicBezTo>
                  <a:lnTo>
                    <a:pt x="1658" y="1094"/>
                  </a:lnTo>
                  <a:close/>
                  <a:moveTo>
                    <a:pt x="1736" y="1165"/>
                  </a:moveTo>
                  <a:cubicBezTo>
                    <a:pt x="1793" y="1165"/>
                    <a:pt x="1793" y="1165"/>
                    <a:pt x="1793" y="1165"/>
                  </a:cubicBezTo>
                  <a:cubicBezTo>
                    <a:pt x="1793" y="890"/>
                    <a:pt x="1793" y="890"/>
                    <a:pt x="1793" y="890"/>
                  </a:cubicBezTo>
                  <a:cubicBezTo>
                    <a:pt x="1736" y="890"/>
                    <a:pt x="1736" y="890"/>
                    <a:pt x="1736" y="890"/>
                  </a:cubicBezTo>
                  <a:lnTo>
                    <a:pt x="1736" y="1165"/>
                  </a:lnTo>
                  <a:close/>
                  <a:moveTo>
                    <a:pt x="1817" y="1165"/>
                  </a:moveTo>
                  <a:cubicBezTo>
                    <a:pt x="1874" y="1165"/>
                    <a:pt x="1874" y="1165"/>
                    <a:pt x="1874" y="1165"/>
                  </a:cubicBezTo>
                  <a:cubicBezTo>
                    <a:pt x="1874" y="890"/>
                    <a:pt x="1874" y="890"/>
                    <a:pt x="1874" y="890"/>
                  </a:cubicBezTo>
                  <a:cubicBezTo>
                    <a:pt x="1817" y="890"/>
                    <a:pt x="1817" y="890"/>
                    <a:pt x="1817" y="890"/>
                  </a:cubicBezTo>
                  <a:lnTo>
                    <a:pt x="1817" y="1165"/>
                  </a:lnTo>
                  <a:close/>
                  <a:moveTo>
                    <a:pt x="2086" y="0"/>
                  </a:moveTo>
                  <a:cubicBezTo>
                    <a:pt x="2086" y="1832"/>
                    <a:pt x="2086" y="1832"/>
                    <a:pt x="2086" y="1832"/>
                  </a:cubicBezTo>
                  <a:cubicBezTo>
                    <a:pt x="2697" y="1832"/>
                    <a:pt x="2697" y="1832"/>
                    <a:pt x="2697" y="1832"/>
                  </a:cubicBezTo>
                  <a:cubicBezTo>
                    <a:pt x="2697" y="0"/>
                    <a:pt x="2697" y="0"/>
                    <a:pt x="2697" y="0"/>
                  </a:cubicBezTo>
                  <a:lnTo>
                    <a:pt x="2086" y="0"/>
                  </a:lnTo>
                  <a:close/>
                </a:path>
              </a:pathLst>
            </a:custGeom>
            <a:gradFill flip="none" rotWithShape="1">
              <a:gsLst>
                <a:gs pos="37000">
                  <a:srgbClr val="F2A11F"/>
                </a:gs>
                <a:gs pos="56000">
                  <a:srgbClr val="EC5124"/>
                </a:gs>
                <a:gs pos="83000">
                  <a:srgbClr val="D32A27"/>
                </a:gs>
                <a:gs pos="100000">
                  <a:srgbClr val="7A425E"/>
                </a:gs>
              </a:gsLst>
              <a:lin ang="189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A6EECAC4-C77C-49AB-B254-48D8B0737DBE}"/>
                </a:ext>
              </a:extLst>
            </p:cNvPr>
            <p:cNvGrpSpPr/>
            <p:nvPr userDrawn="1"/>
          </p:nvGrpSpPr>
          <p:grpSpPr>
            <a:xfrm>
              <a:off x="11291887" y="1987551"/>
              <a:ext cx="590550" cy="2868613"/>
              <a:chOff x="11291887" y="1987551"/>
              <a:chExt cx="590550" cy="2868613"/>
            </a:xfrm>
          </p:grpSpPr>
          <p:sp>
            <p:nvSpPr>
              <p:cNvPr id="108" name="Freeform 6">
                <a:extLst>
                  <a:ext uri="{FF2B5EF4-FFF2-40B4-BE49-F238E27FC236}">
                    <a16:creationId xmlns:a16="http://schemas.microsoft.com/office/drawing/2014/main" id="{D00C9BBA-FC7E-4243-8134-0B959E4BB2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18887" y="3471864"/>
                <a:ext cx="455612" cy="452438"/>
              </a:xfrm>
              <a:custGeom>
                <a:avLst/>
                <a:gdLst>
                  <a:gd name="T0" fmla="*/ 0 w 239"/>
                  <a:gd name="T1" fmla="*/ 96 h 237"/>
                  <a:gd name="T2" fmla="*/ 38 w 239"/>
                  <a:gd name="T3" fmla="*/ 173 h 237"/>
                  <a:gd name="T4" fmla="*/ 38 w 239"/>
                  <a:gd name="T5" fmla="*/ 173 h 237"/>
                  <a:gd name="T6" fmla="*/ 38 w 239"/>
                  <a:gd name="T7" fmla="*/ 173 h 237"/>
                  <a:gd name="T8" fmla="*/ 4 w 239"/>
                  <a:gd name="T9" fmla="*/ 173 h 237"/>
                  <a:gd name="T10" fmla="*/ 4 w 239"/>
                  <a:gd name="T11" fmla="*/ 237 h 237"/>
                  <a:gd name="T12" fmla="*/ 239 w 239"/>
                  <a:gd name="T13" fmla="*/ 237 h 237"/>
                  <a:gd name="T14" fmla="*/ 239 w 239"/>
                  <a:gd name="T15" fmla="*/ 173 h 237"/>
                  <a:gd name="T16" fmla="*/ 105 w 239"/>
                  <a:gd name="T17" fmla="*/ 173 h 237"/>
                  <a:gd name="T18" fmla="*/ 56 w 239"/>
                  <a:gd name="T19" fmla="*/ 119 h 237"/>
                  <a:gd name="T20" fmla="*/ 105 w 239"/>
                  <a:gd name="T21" fmla="*/ 65 h 237"/>
                  <a:gd name="T22" fmla="*/ 239 w 239"/>
                  <a:gd name="T23" fmla="*/ 65 h 237"/>
                  <a:gd name="T24" fmla="*/ 239 w 239"/>
                  <a:gd name="T25" fmla="*/ 0 h 237"/>
                  <a:gd name="T26" fmla="*/ 93 w 239"/>
                  <a:gd name="T27" fmla="*/ 0 h 237"/>
                  <a:gd name="T28" fmla="*/ 0 w 239"/>
                  <a:gd name="T29" fmla="*/ 96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9" h="237">
                    <a:moveTo>
                      <a:pt x="0" y="96"/>
                    </a:moveTo>
                    <a:cubicBezTo>
                      <a:pt x="0" y="123"/>
                      <a:pt x="13" y="154"/>
                      <a:pt x="38" y="173"/>
                    </a:cubicBezTo>
                    <a:cubicBezTo>
                      <a:pt x="38" y="173"/>
                      <a:pt x="38" y="173"/>
                      <a:pt x="38" y="173"/>
                    </a:cubicBezTo>
                    <a:cubicBezTo>
                      <a:pt x="38" y="173"/>
                      <a:pt x="38" y="173"/>
                      <a:pt x="38" y="173"/>
                    </a:cubicBezTo>
                    <a:cubicBezTo>
                      <a:pt x="4" y="173"/>
                      <a:pt x="4" y="173"/>
                      <a:pt x="4" y="173"/>
                    </a:cubicBezTo>
                    <a:cubicBezTo>
                      <a:pt x="4" y="237"/>
                      <a:pt x="4" y="237"/>
                      <a:pt x="4" y="237"/>
                    </a:cubicBezTo>
                    <a:cubicBezTo>
                      <a:pt x="239" y="237"/>
                      <a:pt x="239" y="237"/>
                      <a:pt x="239" y="237"/>
                    </a:cubicBezTo>
                    <a:cubicBezTo>
                      <a:pt x="239" y="173"/>
                      <a:pt x="239" y="173"/>
                      <a:pt x="239" y="173"/>
                    </a:cubicBezTo>
                    <a:cubicBezTo>
                      <a:pt x="105" y="173"/>
                      <a:pt x="105" y="173"/>
                      <a:pt x="105" y="173"/>
                    </a:cubicBezTo>
                    <a:cubicBezTo>
                      <a:pt x="81" y="173"/>
                      <a:pt x="56" y="154"/>
                      <a:pt x="56" y="119"/>
                    </a:cubicBezTo>
                    <a:cubicBezTo>
                      <a:pt x="56" y="93"/>
                      <a:pt x="74" y="65"/>
                      <a:pt x="105" y="65"/>
                    </a:cubicBezTo>
                    <a:cubicBezTo>
                      <a:pt x="239" y="65"/>
                      <a:pt x="239" y="65"/>
                      <a:pt x="239" y="65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39" y="0"/>
                      <a:pt x="0" y="39"/>
                      <a:pt x="0" y="9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109" name="Freeform 7">
                <a:extLst>
                  <a:ext uri="{FF2B5EF4-FFF2-40B4-BE49-F238E27FC236}">
                    <a16:creationId xmlns:a16="http://schemas.microsoft.com/office/drawing/2014/main" id="{F71F105A-138E-453C-A355-31EA2B0C8B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25237" y="2452689"/>
                <a:ext cx="449262" cy="506413"/>
              </a:xfrm>
              <a:custGeom>
                <a:avLst/>
                <a:gdLst>
                  <a:gd name="T0" fmla="*/ 0 w 283"/>
                  <a:gd name="T1" fmla="*/ 89 h 319"/>
                  <a:gd name="T2" fmla="*/ 193 w 283"/>
                  <a:gd name="T3" fmla="*/ 159 h 319"/>
                  <a:gd name="T4" fmla="*/ 0 w 283"/>
                  <a:gd name="T5" fmla="*/ 229 h 319"/>
                  <a:gd name="T6" fmla="*/ 0 w 283"/>
                  <a:gd name="T7" fmla="*/ 319 h 319"/>
                  <a:gd name="T8" fmla="*/ 283 w 283"/>
                  <a:gd name="T9" fmla="*/ 202 h 319"/>
                  <a:gd name="T10" fmla="*/ 283 w 283"/>
                  <a:gd name="T11" fmla="*/ 117 h 319"/>
                  <a:gd name="T12" fmla="*/ 0 w 283"/>
                  <a:gd name="T13" fmla="*/ 0 h 319"/>
                  <a:gd name="T14" fmla="*/ 0 w 283"/>
                  <a:gd name="T15" fmla="*/ 89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3" h="319">
                    <a:moveTo>
                      <a:pt x="0" y="89"/>
                    </a:moveTo>
                    <a:lnTo>
                      <a:pt x="193" y="159"/>
                    </a:lnTo>
                    <a:lnTo>
                      <a:pt x="0" y="229"/>
                    </a:lnTo>
                    <a:lnTo>
                      <a:pt x="0" y="319"/>
                    </a:lnTo>
                    <a:lnTo>
                      <a:pt x="283" y="202"/>
                    </a:lnTo>
                    <a:lnTo>
                      <a:pt x="283" y="117"/>
                    </a:lnTo>
                    <a:lnTo>
                      <a:pt x="0" y="0"/>
                    </a:lnTo>
                    <a:lnTo>
                      <a:pt x="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110" name="Freeform 8">
                <a:extLst>
                  <a:ext uri="{FF2B5EF4-FFF2-40B4-BE49-F238E27FC236}">
                    <a16:creationId xmlns:a16="http://schemas.microsoft.com/office/drawing/2014/main" id="{49854997-23FD-4E3C-82E8-D973E90ABF3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18887" y="3968751"/>
                <a:ext cx="463550" cy="471488"/>
              </a:xfrm>
              <a:custGeom>
                <a:avLst/>
                <a:gdLst>
                  <a:gd name="T0" fmla="*/ 167 w 243"/>
                  <a:gd name="T1" fmla="*/ 46 h 246"/>
                  <a:gd name="T2" fmla="*/ 192 w 243"/>
                  <a:gd name="T3" fmla="*/ 113 h 246"/>
                  <a:gd name="T4" fmla="*/ 173 w 243"/>
                  <a:gd name="T5" fmla="*/ 165 h 246"/>
                  <a:gd name="T6" fmla="*/ 104 w 243"/>
                  <a:gd name="T7" fmla="*/ 0 h 246"/>
                  <a:gd name="T8" fmla="*/ 39 w 243"/>
                  <a:gd name="T9" fmla="*/ 28 h 246"/>
                  <a:gd name="T10" fmla="*/ 0 w 243"/>
                  <a:gd name="T11" fmla="*/ 121 h 246"/>
                  <a:gd name="T12" fmla="*/ 122 w 243"/>
                  <a:gd name="T13" fmla="*/ 246 h 246"/>
                  <a:gd name="T14" fmla="*/ 243 w 243"/>
                  <a:gd name="T15" fmla="*/ 114 h 246"/>
                  <a:gd name="T16" fmla="*/ 198 w 243"/>
                  <a:gd name="T17" fmla="*/ 5 h 246"/>
                  <a:gd name="T18" fmla="*/ 167 w 243"/>
                  <a:gd name="T19" fmla="*/ 46 h 246"/>
                  <a:gd name="T20" fmla="*/ 75 w 243"/>
                  <a:gd name="T21" fmla="*/ 170 h 246"/>
                  <a:gd name="T22" fmla="*/ 51 w 243"/>
                  <a:gd name="T23" fmla="*/ 120 h 246"/>
                  <a:gd name="T24" fmla="*/ 84 w 243"/>
                  <a:gd name="T25" fmla="*/ 70 h 246"/>
                  <a:gd name="T26" fmla="*/ 131 w 243"/>
                  <a:gd name="T27" fmla="*/ 183 h 246"/>
                  <a:gd name="T28" fmla="*/ 75 w 243"/>
                  <a:gd name="T29" fmla="*/ 17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3" h="246">
                    <a:moveTo>
                      <a:pt x="167" y="46"/>
                    </a:moveTo>
                    <a:cubicBezTo>
                      <a:pt x="187" y="73"/>
                      <a:pt x="192" y="88"/>
                      <a:pt x="192" y="113"/>
                    </a:cubicBezTo>
                    <a:cubicBezTo>
                      <a:pt x="192" y="135"/>
                      <a:pt x="185" y="153"/>
                      <a:pt x="173" y="165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79" y="4"/>
                      <a:pt x="56" y="14"/>
                      <a:pt x="39" y="28"/>
                    </a:cubicBezTo>
                    <a:cubicBezTo>
                      <a:pt x="13" y="50"/>
                      <a:pt x="0" y="82"/>
                      <a:pt x="0" y="121"/>
                    </a:cubicBezTo>
                    <a:cubicBezTo>
                      <a:pt x="0" y="192"/>
                      <a:pt x="52" y="246"/>
                      <a:pt x="122" y="246"/>
                    </a:cubicBezTo>
                    <a:cubicBezTo>
                      <a:pt x="193" y="246"/>
                      <a:pt x="243" y="192"/>
                      <a:pt x="243" y="114"/>
                    </a:cubicBezTo>
                    <a:cubicBezTo>
                      <a:pt x="243" y="70"/>
                      <a:pt x="222" y="26"/>
                      <a:pt x="198" y="5"/>
                    </a:cubicBezTo>
                    <a:lnTo>
                      <a:pt x="167" y="46"/>
                    </a:lnTo>
                    <a:close/>
                    <a:moveTo>
                      <a:pt x="75" y="170"/>
                    </a:moveTo>
                    <a:cubicBezTo>
                      <a:pt x="60" y="159"/>
                      <a:pt x="51" y="141"/>
                      <a:pt x="51" y="120"/>
                    </a:cubicBezTo>
                    <a:cubicBezTo>
                      <a:pt x="51" y="97"/>
                      <a:pt x="65" y="79"/>
                      <a:pt x="84" y="70"/>
                    </a:cubicBezTo>
                    <a:cubicBezTo>
                      <a:pt x="131" y="183"/>
                      <a:pt x="131" y="183"/>
                      <a:pt x="131" y="183"/>
                    </a:cubicBezTo>
                    <a:cubicBezTo>
                      <a:pt x="107" y="186"/>
                      <a:pt x="88" y="180"/>
                      <a:pt x="75" y="17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111" name="Freeform 9">
                <a:extLst>
                  <a:ext uri="{FF2B5EF4-FFF2-40B4-BE49-F238E27FC236}">
                    <a16:creationId xmlns:a16="http://schemas.microsoft.com/office/drawing/2014/main" id="{DFC48EA1-BF0E-478F-9540-C906E2ADBE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91887" y="4451351"/>
                <a:ext cx="582612" cy="404813"/>
              </a:xfrm>
              <a:custGeom>
                <a:avLst/>
                <a:gdLst>
                  <a:gd name="T0" fmla="*/ 296 w 367"/>
                  <a:gd name="T1" fmla="*/ 0 h 255"/>
                  <a:gd name="T2" fmla="*/ 296 w 367"/>
                  <a:gd name="T3" fmla="*/ 177 h 255"/>
                  <a:gd name="T4" fmla="*/ 0 w 367"/>
                  <a:gd name="T5" fmla="*/ 177 h 255"/>
                  <a:gd name="T6" fmla="*/ 0 w 367"/>
                  <a:gd name="T7" fmla="*/ 255 h 255"/>
                  <a:gd name="T8" fmla="*/ 367 w 367"/>
                  <a:gd name="T9" fmla="*/ 255 h 255"/>
                  <a:gd name="T10" fmla="*/ 367 w 367"/>
                  <a:gd name="T11" fmla="*/ 0 h 255"/>
                  <a:gd name="T12" fmla="*/ 296 w 367"/>
                  <a:gd name="T13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7" h="255">
                    <a:moveTo>
                      <a:pt x="296" y="0"/>
                    </a:moveTo>
                    <a:lnTo>
                      <a:pt x="296" y="177"/>
                    </a:lnTo>
                    <a:lnTo>
                      <a:pt x="0" y="177"/>
                    </a:lnTo>
                    <a:lnTo>
                      <a:pt x="0" y="255"/>
                    </a:lnTo>
                    <a:lnTo>
                      <a:pt x="367" y="255"/>
                    </a:lnTo>
                    <a:lnTo>
                      <a:pt x="367" y="0"/>
                    </a:lnTo>
                    <a:lnTo>
                      <a:pt x="2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112" name="Freeform 10">
                <a:extLst>
                  <a:ext uri="{FF2B5EF4-FFF2-40B4-BE49-F238E27FC236}">
                    <a16:creationId xmlns:a16="http://schemas.microsoft.com/office/drawing/2014/main" id="{66D58043-225E-4AF1-86C5-EAC10AA263B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18887" y="1987551"/>
                <a:ext cx="463550" cy="484188"/>
              </a:xfrm>
              <a:custGeom>
                <a:avLst/>
                <a:gdLst>
                  <a:gd name="T0" fmla="*/ 243 w 243"/>
                  <a:gd name="T1" fmla="*/ 127 h 253"/>
                  <a:gd name="T2" fmla="*/ 122 w 243"/>
                  <a:gd name="T3" fmla="*/ 253 h 253"/>
                  <a:gd name="T4" fmla="*/ 0 w 243"/>
                  <a:gd name="T5" fmla="*/ 126 h 253"/>
                  <a:gd name="T6" fmla="*/ 122 w 243"/>
                  <a:gd name="T7" fmla="*/ 0 h 253"/>
                  <a:gd name="T8" fmla="*/ 243 w 243"/>
                  <a:gd name="T9" fmla="*/ 127 h 253"/>
                  <a:gd name="T10" fmla="*/ 55 w 243"/>
                  <a:gd name="T11" fmla="*/ 127 h 253"/>
                  <a:gd name="T12" fmla="*/ 122 w 243"/>
                  <a:gd name="T13" fmla="*/ 189 h 253"/>
                  <a:gd name="T14" fmla="*/ 188 w 243"/>
                  <a:gd name="T15" fmla="*/ 126 h 253"/>
                  <a:gd name="T16" fmla="*/ 122 w 243"/>
                  <a:gd name="T17" fmla="*/ 64 h 253"/>
                  <a:gd name="T18" fmla="*/ 55 w 243"/>
                  <a:gd name="T19" fmla="*/ 127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3" h="253">
                    <a:moveTo>
                      <a:pt x="243" y="127"/>
                    </a:moveTo>
                    <a:cubicBezTo>
                      <a:pt x="243" y="198"/>
                      <a:pt x="190" y="253"/>
                      <a:pt x="122" y="253"/>
                    </a:cubicBezTo>
                    <a:cubicBezTo>
                      <a:pt x="53" y="253"/>
                      <a:pt x="0" y="197"/>
                      <a:pt x="0" y="126"/>
                    </a:cubicBezTo>
                    <a:cubicBezTo>
                      <a:pt x="0" y="56"/>
                      <a:pt x="53" y="0"/>
                      <a:pt x="122" y="0"/>
                    </a:cubicBezTo>
                    <a:cubicBezTo>
                      <a:pt x="190" y="0"/>
                      <a:pt x="243" y="56"/>
                      <a:pt x="243" y="127"/>
                    </a:cubicBezTo>
                    <a:moveTo>
                      <a:pt x="55" y="127"/>
                    </a:moveTo>
                    <a:cubicBezTo>
                      <a:pt x="55" y="163"/>
                      <a:pt x="83" y="189"/>
                      <a:pt x="122" y="189"/>
                    </a:cubicBezTo>
                    <a:cubicBezTo>
                      <a:pt x="159" y="189"/>
                      <a:pt x="188" y="162"/>
                      <a:pt x="188" y="126"/>
                    </a:cubicBezTo>
                    <a:cubicBezTo>
                      <a:pt x="188" y="90"/>
                      <a:pt x="160" y="64"/>
                      <a:pt x="122" y="64"/>
                    </a:cubicBezTo>
                    <a:cubicBezTo>
                      <a:pt x="85" y="64"/>
                      <a:pt x="55" y="92"/>
                      <a:pt x="55" y="12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  <p:sp>
            <p:nvSpPr>
              <p:cNvPr id="113" name="Freeform 11">
                <a:extLst>
                  <a:ext uri="{FF2B5EF4-FFF2-40B4-BE49-F238E27FC236}">
                    <a16:creationId xmlns:a16="http://schemas.microsoft.com/office/drawing/2014/main" id="{3EDD390D-BF7B-4689-9B90-0E8DC4C75E1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18887" y="2938464"/>
                <a:ext cx="463550" cy="484188"/>
              </a:xfrm>
              <a:custGeom>
                <a:avLst/>
                <a:gdLst>
                  <a:gd name="T0" fmla="*/ 243 w 243"/>
                  <a:gd name="T1" fmla="*/ 127 h 253"/>
                  <a:gd name="T2" fmla="*/ 122 w 243"/>
                  <a:gd name="T3" fmla="*/ 253 h 253"/>
                  <a:gd name="T4" fmla="*/ 0 w 243"/>
                  <a:gd name="T5" fmla="*/ 126 h 253"/>
                  <a:gd name="T6" fmla="*/ 122 w 243"/>
                  <a:gd name="T7" fmla="*/ 0 h 253"/>
                  <a:gd name="T8" fmla="*/ 243 w 243"/>
                  <a:gd name="T9" fmla="*/ 127 h 253"/>
                  <a:gd name="T10" fmla="*/ 55 w 243"/>
                  <a:gd name="T11" fmla="*/ 127 h 253"/>
                  <a:gd name="T12" fmla="*/ 122 w 243"/>
                  <a:gd name="T13" fmla="*/ 189 h 253"/>
                  <a:gd name="T14" fmla="*/ 188 w 243"/>
                  <a:gd name="T15" fmla="*/ 126 h 253"/>
                  <a:gd name="T16" fmla="*/ 122 w 243"/>
                  <a:gd name="T17" fmla="*/ 64 h 253"/>
                  <a:gd name="T18" fmla="*/ 55 w 243"/>
                  <a:gd name="T19" fmla="*/ 127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3" h="253">
                    <a:moveTo>
                      <a:pt x="243" y="127"/>
                    </a:moveTo>
                    <a:cubicBezTo>
                      <a:pt x="243" y="198"/>
                      <a:pt x="190" y="253"/>
                      <a:pt x="122" y="253"/>
                    </a:cubicBezTo>
                    <a:cubicBezTo>
                      <a:pt x="53" y="253"/>
                      <a:pt x="0" y="197"/>
                      <a:pt x="0" y="126"/>
                    </a:cubicBezTo>
                    <a:cubicBezTo>
                      <a:pt x="0" y="56"/>
                      <a:pt x="53" y="0"/>
                      <a:pt x="122" y="0"/>
                    </a:cubicBezTo>
                    <a:cubicBezTo>
                      <a:pt x="190" y="0"/>
                      <a:pt x="243" y="56"/>
                      <a:pt x="243" y="127"/>
                    </a:cubicBezTo>
                    <a:moveTo>
                      <a:pt x="55" y="127"/>
                    </a:moveTo>
                    <a:cubicBezTo>
                      <a:pt x="55" y="163"/>
                      <a:pt x="83" y="189"/>
                      <a:pt x="122" y="189"/>
                    </a:cubicBezTo>
                    <a:cubicBezTo>
                      <a:pt x="159" y="189"/>
                      <a:pt x="188" y="162"/>
                      <a:pt x="188" y="126"/>
                    </a:cubicBezTo>
                    <a:cubicBezTo>
                      <a:pt x="188" y="90"/>
                      <a:pt x="160" y="64"/>
                      <a:pt x="122" y="64"/>
                    </a:cubicBezTo>
                    <a:cubicBezTo>
                      <a:pt x="85" y="64"/>
                      <a:pt x="55" y="92"/>
                      <a:pt x="55" y="12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33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93178955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opening presentation 02" userDrawn="1">
  <p:cSld name="1_opening presentation 02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569DF2-CA65-4D92-931B-6EF17FF21C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569DF2-CA65-4D92-931B-6EF17FF21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oogle Shape;106;p23">
            <a:extLst>
              <a:ext uri="{FF2B5EF4-FFF2-40B4-BE49-F238E27FC236}">
                <a16:creationId xmlns:a16="http://schemas.microsoft.com/office/drawing/2014/main" id="{50653F07-0F5A-4423-9660-071D4FC352B0}"/>
              </a:ext>
            </a:extLst>
          </p:cNvPr>
          <p:cNvPicPr preferRelativeResize="0"/>
          <p:nvPr userDrawn="1"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4"/>
            <a:ext cx="12192000" cy="504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5;p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36900" y="17603000"/>
            <a:ext cx="2068902" cy="1519396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2592667" y="18916568"/>
            <a:ext cx="8989800" cy="5220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title" idx="2"/>
          </p:nvPr>
        </p:nvSpPr>
        <p:spPr>
          <a:xfrm>
            <a:off x="2592667" y="26375386"/>
            <a:ext cx="8989800" cy="5220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19" name="Google Shape;19;p3"/>
          <p:cNvSpPr/>
          <p:nvPr/>
        </p:nvSpPr>
        <p:spPr>
          <a:xfrm>
            <a:off x="0" y="3"/>
            <a:ext cx="949124" cy="697518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Google Shape;17;p3">
            <a:extLst>
              <a:ext uri="{FF2B5EF4-FFF2-40B4-BE49-F238E27FC236}">
                <a16:creationId xmlns:a16="http://schemas.microsoft.com/office/drawing/2014/main" id="{20DF1F25-8708-451B-85D8-093D92309EC4}"/>
              </a:ext>
            </a:extLst>
          </p:cNvPr>
          <p:cNvSpPr/>
          <p:nvPr userDrawn="1"/>
        </p:nvSpPr>
        <p:spPr>
          <a:xfrm>
            <a:off x="2298800" y="18891530"/>
            <a:ext cx="29600" cy="12616892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7865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agenda" preserve="1" userDrawn="1">
  <p:cSld name="2_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95EB3-2B30-4312-9FEC-6AF618B1A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95EB3-2B30-4312-9FEC-6AF618B1A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Google Shape;27;p6"/>
          <p:cNvSpPr txBox="1">
            <a:spLocks noGrp="1"/>
          </p:cNvSpPr>
          <p:nvPr>
            <p:ph type="title"/>
          </p:nvPr>
        </p:nvSpPr>
        <p:spPr>
          <a:xfrm>
            <a:off x="698533" y="21494572"/>
            <a:ext cx="4397200" cy="74108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 dirty="0"/>
          </a:p>
        </p:txBody>
      </p:sp>
      <p:sp>
        <p:nvSpPr>
          <p:cNvPr id="29" name="Google Shape;29;p6"/>
          <p:cNvSpPr txBox="1">
            <a:spLocks noGrp="1"/>
          </p:cNvSpPr>
          <p:nvPr>
            <p:ph type="title" idx="3"/>
          </p:nvPr>
        </p:nvSpPr>
        <p:spPr>
          <a:xfrm>
            <a:off x="6287600" y="12533354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title" idx="4"/>
          </p:nvPr>
        </p:nvSpPr>
        <p:spPr>
          <a:xfrm>
            <a:off x="6287600" y="24144008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 idx="5"/>
          </p:nvPr>
        </p:nvSpPr>
        <p:spPr>
          <a:xfrm>
            <a:off x="6287600" y="35754664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title" idx="8"/>
          </p:nvPr>
        </p:nvSpPr>
        <p:spPr>
          <a:xfrm>
            <a:off x="6287600" y="18338678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title" idx="9"/>
          </p:nvPr>
        </p:nvSpPr>
        <p:spPr>
          <a:xfrm>
            <a:off x="6287600" y="29949336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1394C7D-ECF2-4A9A-85D3-7F216E60AE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24E14E7-D459-4D7D-8045-CCAF5FF4E2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2818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opening sub-session 01" preserve="1">
  <p:cSld name="4_opening sub-session 01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EF4B77-D8D1-4A91-802F-139A3F7C0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EF4B77-D8D1-4A91-802F-139A3F7C0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Google Shape;39;p7"/>
          <p:cNvPicPr preferRelativeResize="0"/>
          <p:nvPr/>
        </p:nvPicPr>
        <p:blipFill rotWithShape="1">
          <a:blip r:embed="rId6">
            <a:alphaModFix amt="15000"/>
          </a:blip>
          <a:srcRect t="8915" r="21399" b="26787"/>
          <a:stretch/>
        </p:blipFill>
        <p:spPr>
          <a:xfrm>
            <a:off x="4840834" y="3"/>
            <a:ext cx="7351166" cy="5039995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7"/>
          <p:cNvSpPr txBox="1">
            <a:spLocks noGrp="1"/>
          </p:cNvSpPr>
          <p:nvPr>
            <p:ph type="title"/>
          </p:nvPr>
        </p:nvSpPr>
        <p:spPr>
          <a:xfrm>
            <a:off x="745900" y="22672167"/>
            <a:ext cx="6602400" cy="8735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4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41" name="Google Shape;41;p7"/>
          <p:cNvSpPr txBox="1">
            <a:spLocks noGrp="1"/>
          </p:cNvSpPr>
          <p:nvPr>
            <p:ph type="title" idx="2"/>
          </p:nvPr>
        </p:nvSpPr>
        <p:spPr>
          <a:xfrm>
            <a:off x="745900" y="31896694"/>
            <a:ext cx="6602400" cy="70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6" name="Google Shape;10;p2">
            <a:extLst>
              <a:ext uri="{FF2B5EF4-FFF2-40B4-BE49-F238E27FC236}">
                <a16:creationId xmlns:a16="http://schemas.microsoft.com/office/drawing/2014/main" id="{15A027C8-6BEA-4967-91EA-CCD151D3B370}"/>
              </a:ext>
            </a:extLst>
          </p:cNvPr>
          <p:cNvSpPr/>
          <p:nvPr userDrawn="1"/>
        </p:nvSpPr>
        <p:spPr>
          <a:xfrm>
            <a:off x="-1" y="3"/>
            <a:ext cx="884903" cy="6784858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DCEAAC1-D522-426D-B9A3-B26F5DB2B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0932E54-7368-44D7-BD19-F41EFCCF9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oogle Shape;17;p3">
            <a:extLst>
              <a:ext uri="{FF2B5EF4-FFF2-40B4-BE49-F238E27FC236}">
                <a16:creationId xmlns:a16="http://schemas.microsoft.com/office/drawing/2014/main" id="{29747C31-6068-4D65-B180-B8288E4AFFA3}"/>
              </a:ext>
            </a:extLst>
          </p:cNvPr>
          <p:cNvSpPr/>
          <p:nvPr userDrawn="1"/>
        </p:nvSpPr>
        <p:spPr>
          <a:xfrm rot="5400000">
            <a:off x="1460096" y="30829464"/>
            <a:ext cx="217532" cy="1645920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5658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4_content 1/3 pag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797794-0C82-4CF0-BC7F-A0F4C0244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797794-0C82-4CF0-BC7F-A0F4C0244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B1811D8-E849-4ACA-8446-F6E2FD56C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2522138"/>
            <a:ext cx="10751226" cy="282621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54" name="Footer Placeholder 4">
            <a:extLst>
              <a:ext uri="{FF2B5EF4-FFF2-40B4-BE49-F238E27FC236}">
                <a16:creationId xmlns:a16="http://schemas.microsoft.com/office/drawing/2014/main" id="{077DBD3E-34E8-4322-B325-A918E00973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Slide Number Placeholder 5">
            <a:extLst>
              <a:ext uri="{FF2B5EF4-FFF2-40B4-BE49-F238E27FC236}">
                <a16:creationId xmlns:a16="http://schemas.microsoft.com/office/drawing/2014/main" id="{B2681DC3-093A-4D06-B769-571F6455A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52">
            <a:extLst>
              <a:ext uri="{FF2B5EF4-FFF2-40B4-BE49-F238E27FC236}">
                <a16:creationId xmlns:a16="http://schemas.microsoft.com/office/drawing/2014/main" id="{90726B3D-BDF5-42BE-B50F-BD212F326A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9636" y="10817380"/>
            <a:ext cx="10751226" cy="333278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3492274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8" userDrawn="1">
          <p15:clr>
            <a:srgbClr val="FA7B17"/>
          </p15:clr>
        </p15:guide>
        <p15:guide id="2" pos="4992" userDrawn="1">
          <p15:clr>
            <a:srgbClr val="FA7B17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hank you">
  <p:cSld name="7_thank you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0D079B1-518D-42DC-9B88-9A73A0A565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0D079B1-518D-42DC-9B88-9A73A0A565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oogle Shape;106;p23">
            <a:extLst>
              <a:ext uri="{FF2B5EF4-FFF2-40B4-BE49-F238E27FC236}">
                <a16:creationId xmlns:a16="http://schemas.microsoft.com/office/drawing/2014/main" id="{94910BEF-679D-4A3B-8439-3690AECA6AEC}"/>
              </a:ext>
            </a:extLst>
          </p:cNvPr>
          <p:cNvPicPr preferRelativeResize="0"/>
          <p:nvPr userDrawn="1"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4"/>
            <a:ext cx="12192000" cy="504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01;p22"/>
          <p:cNvSpPr txBox="1"/>
          <p:nvPr/>
        </p:nvSpPr>
        <p:spPr>
          <a:xfrm>
            <a:off x="3638400" y="32917005"/>
            <a:ext cx="4915200" cy="542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67" b="1" dirty="0">
                <a:solidFill>
                  <a:srgbClr val="FF564E"/>
                </a:solidFill>
                <a:latin typeface="Arial" panose="020B0604020202020204" pitchFamily="34" charset="0"/>
                <a:ea typeface="Montserrat Light"/>
                <a:cs typeface="Arial" panose="020B0604020202020204" pitchFamily="34" charset="0"/>
                <a:sym typeface="Arial" panose="020B0604020202020204" pitchFamily="34" charset="0"/>
              </a:rPr>
              <a:t>THANK YOU</a:t>
            </a:r>
            <a:endParaRPr sz="2667" b="1" dirty="0">
              <a:solidFill>
                <a:srgbClr val="FF564E"/>
              </a:solidFill>
              <a:latin typeface="Arial" panose="020B0604020202020204" pitchFamily="34" charset="0"/>
              <a:ea typeface="Montserrat Ligh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4" name="Google Shape;104;p2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980667" y="17483222"/>
            <a:ext cx="6230667" cy="1543378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08;p23">
            <a:extLst>
              <a:ext uri="{FF2B5EF4-FFF2-40B4-BE49-F238E27FC236}">
                <a16:creationId xmlns:a16="http://schemas.microsoft.com/office/drawing/2014/main" id="{2A125763-B6E0-4FF8-9624-B7552B4C3F0D}"/>
              </a:ext>
            </a:extLst>
          </p:cNvPr>
          <p:cNvSpPr/>
          <p:nvPr userDrawn="1"/>
        </p:nvSpPr>
        <p:spPr>
          <a:xfrm>
            <a:off x="-1" y="3"/>
            <a:ext cx="1022385" cy="69439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2196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5_content 1/3 pag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43A244-F694-4783-9988-BD7BF229D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43A244-F694-4783-9988-BD7BF229D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562;p120">
            <a:extLst>
              <a:ext uri="{FF2B5EF4-FFF2-40B4-BE49-F238E27FC236}">
                <a16:creationId xmlns:a16="http://schemas.microsoft.com/office/drawing/2014/main" id="{4BE39BB3-9284-4D59-B69C-71C433BCA3EB}"/>
              </a:ext>
            </a:extLst>
          </p:cNvPr>
          <p:cNvPicPr preferRelativeResize="0"/>
          <p:nvPr userDrawn="1"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067" y="20475463"/>
            <a:ext cx="4253868" cy="8288670"/>
          </a:xfrm>
          <a:prstGeom prst="rect">
            <a:avLst/>
          </a:prstGeom>
          <a:noFill/>
          <a:ln>
            <a:noFill/>
          </a:ln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6" name="Google Shape;563;p120">
            <a:extLst>
              <a:ext uri="{FF2B5EF4-FFF2-40B4-BE49-F238E27FC236}">
                <a16:creationId xmlns:a16="http://schemas.microsoft.com/office/drawing/2014/main" id="{7794E8CD-5691-4171-9180-BC001F339A3C}"/>
              </a:ext>
            </a:extLst>
          </p:cNvPr>
          <p:cNvSpPr/>
          <p:nvPr userDrawn="1"/>
        </p:nvSpPr>
        <p:spPr>
          <a:xfrm rot="2700000">
            <a:off x="-2228582" y="23850653"/>
            <a:ext cx="13501086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 dirty="0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Google Shape;563;p120">
            <a:extLst>
              <a:ext uri="{FF2B5EF4-FFF2-40B4-BE49-F238E27FC236}">
                <a16:creationId xmlns:a16="http://schemas.microsoft.com/office/drawing/2014/main" id="{347D7040-37D0-45DC-A066-6E3D954D4260}"/>
              </a:ext>
            </a:extLst>
          </p:cNvPr>
          <p:cNvSpPr/>
          <p:nvPr userDrawn="1"/>
        </p:nvSpPr>
        <p:spPr>
          <a:xfrm rot="2700000">
            <a:off x="-654542" y="23850653"/>
            <a:ext cx="13501086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 dirty="0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Google Shape;563;p120">
            <a:extLst>
              <a:ext uri="{FF2B5EF4-FFF2-40B4-BE49-F238E27FC236}">
                <a16:creationId xmlns:a16="http://schemas.microsoft.com/office/drawing/2014/main" id="{62094DD6-243C-4383-BEDF-7C0642DB2545}"/>
              </a:ext>
            </a:extLst>
          </p:cNvPr>
          <p:cNvSpPr/>
          <p:nvPr userDrawn="1"/>
        </p:nvSpPr>
        <p:spPr>
          <a:xfrm rot="2700000">
            <a:off x="930418" y="23850653"/>
            <a:ext cx="13501086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1C293C-D27F-4714-898E-17A3B3C377D1}"/>
              </a:ext>
            </a:extLst>
          </p:cNvPr>
          <p:cNvSpPr txBox="1"/>
          <p:nvPr userDrawn="1"/>
        </p:nvSpPr>
        <p:spPr>
          <a:xfrm>
            <a:off x="0" y="14047238"/>
            <a:ext cx="12192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i="0" u="none" strike="noStrike" cap="none" dirty="0">
                <a:solidFill>
                  <a:srgbClr val="FF564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EASE KEEP THIS CONFIDENTIAL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DF3189-3C21-4848-AE58-F8E289676F71}"/>
              </a:ext>
            </a:extLst>
          </p:cNvPr>
          <p:cNvSpPr txBox="1"/>
          <p:nvPr userDrawn="1"/>
        </p:nvSpPr>
        <p:spPr>
          <a:xfrm>
            <a:off x="1" y="33217342"/>
            <a:ext cx="12191999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…no pictures, video or audio recording, no tweeting, blogging or writing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bout this presentation on social media.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518CA2-BC31-4131-A91F-FF5F34092339}"/>
              </a:ext>
            </a:extLst>
          </p:cNvPr>
          <p:cNvSpPr/>
          <p:nvPr userDrawn="1"/>
        </p:nvSpPr>
        <p:spPr>
          <a:xfrm>
            <a:off x="0" y="0"/>
            <a:ext cx="1249680" cy="76159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B1ACB0-D98E-4758-ABF5-E53375DA2DA9}"/>
              </a:ext>
            </a:extLst>
          </p:cNvPr>
          <p:cNvSpPr/>
          <p:nvPr userDrawn="1"/>
        </p:nvSpPr>
        <p:spPr>
          <a:xfrm>
            <a:off x="0" y="46815954"/>
            <a:ext cx="3428866" cy="3570856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970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  <p:extLst>
    <p:ext uri="{DCECCB84-F9BA-43D5-87BE-67443E8EF086}">
      <p15:sldGuideLst xmlns:p15="http://schemas.microsoft.com/office/powerpoint/2012/main">
        <p15:guide id="1" pos="2688" userDrawn="1">
          <p15:clr>
            <a:srgbClr val="FA7B17"/>
          </p15:clr>
        </p15:guide>
        <p15:guide id="2" pos="4992" userDrawn="1">
          <p15:clr>
            <a:srgbClr val="FA7B17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hank you">
  <p:cSld name="Thank you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0D079B1-518D-42DC-9B88-9A73A0A565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148789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0D079B1-518D-42DC-9B88-9A73A0A565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oogle Shape;106;p23">
            <a:extLst>
              <a:ext uri="{FF2B5EF4-FFF2-40B4-BE49-F238E27FC236}">
                <a16:creationId xmlns:a16="http://schemas.microsoft.com/office/drawing/2014/main" id="{94910BEF-679D-4A3B-8439-3690AECA6AEC}"/>
              </a:ext>
            </a:extLst>
          </p:cNvPr>
          <p:cNvPicPr preferRelativeResize="0"/>
          <p:nvPr userDrawn="1"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4"/>
            <a:ext cx="12192000" cy="504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01;p22"/>
          <p:cNvSpPr txBox="1"/>
          <p:nvPr/>
        </p:nvSpPr>
        <p:spPr>
          <a:xfrm>
            <a:off x="3638400" y="32917005"/>
            <a:ext cx="4915200" cy="542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67" b="1" dirty="0">
                <a:solidFill>
                  <a:srgbClr val="FF564E"/>
                </a:solidFill>
                <a:latin typeface="Arial" panose="020B0604020202020204" pitchFamily="34" charset="0"/>
                <a:ea typeface="Montserrat Light"/>
                <a:cs typeface="Arial" panose="020B0604020202020204" pitchFamily="34" charset="0"/>
                <a:sym typeface="Arial" panose="020B0604020202020204" pitchFamily="34" charset="0"/>
              </a:rPr>
              <a:t>THANK YOU</a:t>
            </a:r>
            <a:endParaRPr sz="2667" b="1" dirty="0">
              <a:solidFill>
                <a:srgbClr val="FF564E"/>
              </a:solidFill>
              <a:latin typeface="Arial" panose="020B0604020202020204" pitchFamily="34" charset="0"/>
              <a:ea typeface="Montserrat Ligh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4" name="Google Shape;104;p2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980667" y="17483222"/>
            <a:ext cx="6230667" cy="1543378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08;p23">
            <a:extLst>
              <a:ext uri="{FF2B5EF4-FFF2-40B4-BE49-F238E27FC236}">
                <a16:creationId xmlns:a16="http://schemas.microsoft.com/office/drawing/2014/main" id="{2A125763-B6E0-4FF8-9624-B7552B4C3F0D}"/>
              </a:ext>
            </a:extLst>
          </p:cNvPr>
          <p:cNvSpPr/>
          <p:nvPr userDrawn="1"/>
        </p:nvSpPr>
        <p:spPr>
          <a:xfrm>
            <a:off x="-1" y="3"/>
            <a:ext cx="1022385" cy="69439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opening presentation 02" userDrawn="1">
  <p:cSld name="1_opening presentation 02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569DF2-CA65-4D92-931B-6EF17FF21C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569DF2-CA65-4D92-931B-6EF17FF21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oogle Shape;106;p23">
            <a:extLst>
              <a:ext uri="{FF2B5EF4-FFF2-40B4-BE49-F238E27FC236}">
                <a16:creationId xmlns:a16="http://schemas.microsoft.com/office/drawing/2014/main" id="{50653F07-0F5A-4423-9660-071D4FC352B0}"/>
              </a:ext>
            </a:extLst>
          </p:cNvPr>
          <p:cNvPicPr preferRelativeResize="0"/>
          <p:nvPr userDrawn="1"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4"/>
            <a:ext cx="12192000" cy="504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5;p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36900" y="17603000"/>
            <a:ext cx="2068902" cy="1519396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2592667" y="18916568"/>
            <a:ext cx="8989800" cy="5220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title" idx="2"/>
          </p:nvPr>
        </p:nvSpPr>
        <p:spPr>
          <a:xfrm>
            <a:off x="2592667" y="26375386"/>
            <a:ext cx="8989800" cy="5220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19" name="Google Shape;19;p3"/>
          <p:cNvSpPr/>
          <p:nvPr/>
        </p:nvSpPr>
        <p:spPr>
          <a:xfrm>
            <a:off x="0" y="3"/>
            <a:ext cx="949124" cy="697518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Google Shape;17;p3">
            <a:extLst>
              <a:ext uri="{FF2B5EF4-FFF2-40B4-BE49-F238E27FC236}">
                <a16:creationId xmlns:a16="http://schemas.microsoft.com/office/drawing/2014/main" id="{20DF1F25-8708-451B-85D8-093D92309EC4}"/>
              </a:ext>
            </a:extLst>
          </p:cNvPr>
          <p:cNvSpPr/>
          <p:nvPr userDrawn="1"/>
        </p:nvSpPr>
        <p:spPr>
          <a:xfrm>
            <a:off x="2298800" y="18891530"/>
            <a:ext cx="29600" cy="12616892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2574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agenda" preserve="1" userDrawn="1">
  <p:cSld name="2_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95EB3-2B30-4312-9FEC-6AF618B1A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95EB3-2B30-4312-9FEC-6AF618B1A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Google Shape;27;p6"/>
          <p:cNvSpPr txBox="1">
            <a:spLocks noGrp="1"/>
          </p:cNvSpPr>
          <p:nvPr>
            <p:ph type="title"/>
          </p:nvPr>
        </p:nvSpPr>
        <p:spPr>
          <a:xfrm>
            <a:off x="698533" y="21494572"/>
            <a:ext cx="4397200" cy="74108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 dirty="0"/>
          </a:p>
        </p:txBody>
      </p:sp>
      <p:sp>
        <p:nvSpPr>
          <p:cNvPr id="29" name="Google Shape;29;p6"/>
          <p:cNvSpPr txBox="1">
            <a:spLocks noGrp="1"/>
          </p:cNvSpPr>
          <p:nvPr>
            <p:ph type="title" idx="3"/>
          </p:nvPr>
        </p:nvSpPr>
        <p:spPr>
          <a:xfrm>
            <a:off x="6287600" y="12533354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title" idx="4"/>
          </p:nvPr>
        </p:nvSpPr>
        <p:spPr>
          <a:xfrm>
            <a:off x="6287600" y="24144008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 idx="5"/>
          </p:nvPr>
        </p:nvSpPr>
        <p:spPr>
          <a:xfrm>
            <a:off x="6287600" y="35754664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title" idx="8"/>
          </p:nvPr>
        </p:nvSpPr>
        <p:spPr>
          <a:xfrm>
            <a:off x="6287600" y="18338678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title" idx="9"/>
          </p:nvPr>
        </p:nvSpPr>
        <p:spPr>
          <a:xfrm>
            <a:off x="6287600" y="29949336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1394C7D-ECF2-4A9A-85D3-7F216E60AE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24E14E7-D459-4D7D-8045-CCAF5FF4E2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9599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opening sub-session 01" preserve="1">
  <p:cSld name="4_opening sub-session 01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EF4B77-D8D1-4A91-802F-139A3F7C0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EF4B77-D8D1-4A91-802F-139A3F7C0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Google Shape;39;p7"/>
          <p:cNvPicPr preferRelativeResize="0"/>
          <p:nvPr/>
        </p:nvPicPr>
        <p:blipFill rotWithShape="1">
          <a:blip r:embed="rId6">
            <a:alphaModFix amt="15000"/>
          </a:blip>
          <a:srcRect t="8915" r="21399" b="26787"/>
          <a:stretch/>
        </p:blipFill>
        <p:spPr>
          <a:xfrm>
            <a:off x="4840834" y="3"/>
            <a:ext cx="7351166" cy="5039995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7"/>
          <p:cNvSpPr txBox="1">
            <a:spLocks noGrp="1"/>
          </p:cNvSpPr>
          <p:nvPr>
            <p:ph type="title"/>
          </p:nvPr>
        </p:nvSpPr>
        <p:spPr>
          <a:xfrm>
            <a:off x="745900" y="22672167"/>
            <a:ext cx="6602400" cy="8735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4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41" name="Google Shape;41;p7"/>
          <p:cNvSpPr txBox="1">
            <a:spLocks noGrp="1"/>
          </p:cNvSpPr>
          <p:nvPr>
            <p:ph type="title" idx="2"/>
          </p:nvPr>
        </p:nvSpPr>
        <p:spPr>
          <a:xfrm>
            <a:off x="745900" y="31896694"/>
            <a:ext cx="6602400" cy="70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6" name="Google Shape;10;p2">
            <a:extLst>
              <a:ext uri="{FF2B5EF4-FFF2-40B4-BE49-F238E27FC236}">
                <a16:creationId xmlns:a16="http://schemas.microsoft.com/office/drawing/2014/main" id="{15A027C8-6BEA-4967-91EA-CCD151D3B370}"/>
              </a:ext>
            </a:extLst>
          </p:cNvPr>
          <p:cNvSpPr/>
          <p:nvPr userDrawn="1"/>
        </p:nvSpPr>
        <p:spPr>
          <a:xfrm>
            <a:off x="-1" y="3"/>
            <a:ext cx="884903" cy="6784858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DCEAAC1-D522-426D-B9A3-B26F5DB2B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0932E54-7368-44D7-BD19-F41EFCCF9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oogle Shape;17;p3">
            <a:extLst>
              <a:ext uri="{FF2B5EF4-FFF2-40B4-BE49-F238E27FC236}">
                <a16:creationId xmlns:a16="http://schemas.microsoft.com/office/drawing/2014/main" id="{29747C31-6068-4D65-B180-B8288E4AFFA3}"/>
              </a:ext>
            </a:extLst>
          </p:cNvPr>
          <p:cNvSpPr/>
          <p:nvPr userDrawn="1"/>
        </p:nvSpPr>
        <p:spPr>
          <a:xfrm rot="5400000">
            <a:off x="1460096" y="30829464"/>
            <a:ext cx="217532" cy="1645920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9390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4_content 1/3 pag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797794-0C82-4CF0-BC7F-A0F4C0244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797794-0C82-4CF0-BC7F-A0F4C0244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B1811D8-E849-4ACA-8446-F6E2FD56C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2522138"/>
            <a:ext cx="10751226" cy="282621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54" name="Footer Placeholder 4">
            <a:extLst>
              <a:ext uri="{FF2B5EF4-FFF2-40B4-BE49-F238E27FC236}">
                <a16:creationId xmlns:a16="http://schemas.microsoft.com/office/drawing/2014/main" id="{077DBD3E-34E8-4322-B325-A918E00973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Slide Number Placeholder 5">
            <a:extLst>
              <a:ext uri="{FF2B5EF4-FFF2-40B4-BE49-F238E27FC236}">
                <a16:creationId xmlns:a16="http://schemas.microsoft.com/office/drawing/2014/main" id="{B2681DC3-093A-4D06-B769-571F6455A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52">
            <a:extLst>
              <a:ext uri="{FF2B5EF4-FFF2-40B4-BE49-F238E27FC236}">
                <a16:creationId xmlns:a16="http://schemas.microsoft.com/office/drawing/2014/main" id="{90726B3D-BDF5-42BE-B50F-BD212F326A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9636" y="10817380"/>
            <a:ext cx="10751226" cy="333278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30070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8" userDrawn="1">
          <p15:clr>
            <a:srgbClr val="FA7B17"/>
          </p15:clr>
        </p15:guide>
        <p15:guide id="2" pos="4992" userDrawn="1">
          <p15:clr>
            <a:srgbClr val="FA7B17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hank you">
  <p:cSld name="7_thank you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0D079B1-518D-42DC-9B88-9A73A0A565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0D079B1-518D-42DC-9B88-9A73A0A565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oogle Shape;106;p23">
            <a:extLst>
              <a:ext uri="{FF2B5EF4-FFF2-40B4-BE49-F238E27FC236}">
                <a16:creationId xmlns:a16="http://schemas.microsoft.com/office/drawing/2014/main" id="{94910BEF-679D-4A3B-8439-3690AECA6AEC}"/>
              </a:ext>
            </a:extLst>
          </p:cNvPr>
          <p:cNvPicPr preferRelativeResize="0"/>
          <p:nvPr userDrawn="1"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4"/>
            <a:ext cx="12192000" cy="504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01;p22"/>
          <p:cNvSpPr txBox="1"/>
          <p:nvPr/>
        </p:nvSpPr>
        <p:spPr>
          <a:xfrm>
            <a:off x="3638400" y="32917005"/>
            <a:ext cx="4915200" cy="542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67" b="1" dirty="0">
                <a:solidFill>
                  <a:srgbClr val="FF564E"/>
                </a:solidFill>
                <a:latin typeface="Arial" panose="020B0604020202020204" pitchFamily="34" charset="0"/>
                <a:ea typeface="Montserrat Light"/>
                <a:cs typeface="Arial" panose="020B0604020202020204" pitchFamily="34" charset="0"/>
                <a:sym typeface="Arial" panose="020B0604020202020204" pitchFamily="34" charset="0"/>
              </a:rPr>
              <a:t>THANK YOU</a:t>
            </a:r>
            <a:endParaRPr sz="2667" b="1" dirty="0">
              <a:solidFill>
                <a:srgbClr val="FF564E"/>
              </a:solidFill>
              <a:latin typeface="Arial" panose="020B0604020202020204" pitchFamily="34" charset="0"/>
              <a:ea typeface="Montserrat Ligh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4" name="Google Shape;104;p2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980667" y="17483222"/>
            <a:ext cx="6230667" cy="1543378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08;p23">
            <a:extLst>
              <a:ext uri="{FF2B5EF4-FFF2-40B4-BE49-F238E27FC236}">
                <a16:creationId xmlns:a16="http://schemas.microsoft.com/office/drawing/2014/main" id="{2A125763-B6E0-4FF8-9624-B7552B4C3F0D}"/>
              </a:ext>
            </a:extLst>
          </p:cNvPr>
          <p:cNvSpPr/>
          <p:nvPr userDrawn="1"/>
        </p:nvSpPr>
        <p:spPr>
          <a:xfrm>
            <a:off x="-1" y="3"/>
            <a:ext cx="1022385" cy="69439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7491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5_content 1/3 pag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43A244-F694-4783-9988-BD7BF229D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43A244-F694-4783-9988-BD7BF229D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562;p120">
            <a:extLst>
              <a:ext uri="{FF2B5EF4-FFF2-40B4-BE49-F238E27FC236}">
                <a16:creationId xmlns:a16="http://schemas.microsoft.com/office/drawing/2014/main" id="{4BE39BB3-9284-4D59-B69C-71C433BCA3EB}"/>
              </a:ext>
            </a:extLst>
          </p:cNvPr>
          <p:cNvPicPr preferRelativeResize="0"/>
          <p:nvPr userDrawn="1"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067" y="20475463"/>
            <a:ext cx="4253868" cy="8288670"/>
          </a:xfrm>
          <a:prstGeom prst="rect">
            <a:avLst/>
          </a:prstGeom>
          <a:noFill/>
          <a:ln>
            <a:noFill/>
          </a:ln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6" name="Google Shape;563;p120">
            <a:extLst>
              <a:ext uri="{FF2B5EF4-FFF2-40B4-BE49-F238E27FC236}">
                <a16:creationId xmlns:a16="http://schemas.microsoft.com/office/drawing/2014/main" id="{7794E8CD-5691-4171-9180-BC001F339A3C}"/>
              </a:ext>
            </a:extLst>
          </p:cNvPr>
          <p:cNvSpPr/>
          <p:nvPr userDrawn="1"/>
        </p:nvSpPr>
        <p:spPr>
          <a:xfrm rot="2700000">
            <a:off x="-2228582" y="23850653"/>
            <a:ext cx="13501086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 dirty="0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Google Shape;563;p120">
            <a:extLst>
              <a:ext uri="{FF2B5EF4-FFF2-40B4-BE49-F238E27FC236}">
                <a16:creationId xmlns:a16="http://schemas.microsoft.com/office/drawing/2014/main" id="{347D7040-37D0-45DC-A066-6E3D954D4260}"/>
              </a:ext>
            </a:extLst>
          </p:cNvPr>
          <p:cNvSpPr/>
          <p:nvPr userDrawn="1"/>
        </p:nvSpPr>
        <p:spPr>
          <a:xfrm rot="2700000">
            <a:off x="-654542" y="23850653"/>
            <a:ext cx="13501086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 dirty="0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Google Shape;563;p120">
            <a:extLst>
              <a:ext uri="{FF2B5EF4-FFF2-40B4-BE49-F238E27FC236}">
                <a16:creationId xmlns:a16="http://schemas.microsoft.com/office/drawing/2014/main" id="{62094DD6-243C-4383-BEDF-7C0642DB2545}"/>
              </a:ext>
            </a:extLst>
          </p:cNvPr>
          <p:cNvSpPr/>
          <p:nvPr userDrawn="1"/>
        </p:nvSpPr>
        <p:spPr>
          <a:xfrm rot="2700000">
            <a:off x="930418" y="23850653"/>
            <a:ext cx="13501086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1C293C-D27F-4714-898E-17A3B3C377D1}"/>
              </a:ext>
            </a:extLst>
          </p:cNvPr>
          <p:cNvSpPr txBox="1"/>
          <p:nvPr userDrawn="1"/>
        </p:nvSpPr>
        <p:spPr>
          <a:xfrm>
            <a:off x="0" y="14047238"/>
            <a:ext cx="12192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i="0" u="none" strike="noStrike" cap="none" dirty="0">
                <a:solidFill>
                  <a:srgbClr val="FF564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EASE KEEP THIS CONFIDENTIAL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DF3189-3C21-4848-AE58-F8E289676F71}"/>
              </a:ext>
            </a:extLst>
          </p:cNvPr>
          <p:cNvSpPr txBox="1"/>
          <p:nvPr userDrawn="1"/>
        </p:nvSpPr>
        <p:spPr>
          <a:xfrm>
            <a:off x="1" y="33217342"/>
            <a:ext cx="12191999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…no pictures, video or audio recording, no tweeting, blogging or writing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bout this presentation on social media.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518CA2-BC31-4131-A91F-FF5F34092339}"/>
              </a:ext>
            </a:extLst>
          </p:cNvPr>
          <p:cNvSpPr/>
          <p:nvPr userDrawn="1"/>
        </p:nvSpPr>
        <p:spPr>
          <a:xfrm>
            <a:off x="0" y="0"/>
            <a:ext cx="1249680" cy="76159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B1ACB0-D98E-4758-ABF5-E53375DA2DA9}"/>
              </a:ext>
            </a:extLst>
          </p:cNvPr>
          <p:cNvSpPr/>
          <p:nvPr userDrawn="1"/>
        </p:nvSpPr>
        <p:spPr>
          <a:xfrm>
            <a:off x="0" y="46815954"/>
            <a:ext cx="3428866" cy="3570856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3890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  <p:extLst>
    <p:ext uri="{DCECCB84-F9BA-43D5-87BE-67443E8EF086}">
      <p15:sldGuideLst xmlns:p15="http://schemas.microsoft.com/office/powerpoint/2012/main">
        <p15:guide id="1" pos="2688" userDrawn="1">
          <p15:clr>
            <a:srgbClr val="FA7B17"/>
          </p15:clr>
        </p15:guide>
        <p15:guide id="2" pos="4992" userDrawn="1">
          <p15:clr>
            <a:srgbClr val="FA7B17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5410A2-A42B-4856-B640-9D16470F62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FC08F-B9E9-4994-BA1F-250A78E83996}" type="datetimeFigureOut">
              <a:rPr lang="en-US" smtClean="0"/>
              <a:t>4/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5F56D7-4E3E-4878-B47D-E87C5BBB46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CFA60F-0C52-46D6-BDFE-78EA4568D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A4C463-41AF-4E30-88B2-44CF189A4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212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Confidential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43A244-F694-4783-9988-BD7BF229D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617083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43A244-F694-4783-9988-BD7BF229D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562;p120">
            <a:extLst>
              <a:ext uri="{FF2B5EF4-FFF2-40B4-BE49-F238E27FC236}">
                <a16:creationId xmlns:a16="http://schemas.microsoft.com/office/drawing/2014/main" id="{4BE39BB3-9284-4D59-B69C-71C433BCA3EB}"/>
              </a:ext>
            </a:extLst>
          </p:cNvPr>
          <p:cNvPicPr preferRelativeResize="0"/>
          <p:nvPr userDrawn="1"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067" y="20475463"/>
            <a:ext cx="4253868" cy="8288670"/>
          </a:xfrm>
          <a:prstGeom prst="rect">
            <a:avLst/>
          </a:prstGeom>
          <a:noFill/>
          <a:ln>
            <a:noFill/>
          </a:ln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6" name="Google Shape;563;p120">
            <a:extLst>
              <a:ext uri="{FF2B5EF4-FFF2-40B4-BE49-F238E27FC236}">
                <a16:creationId xmlns:a16="http://schemas.microsoft.com/office/drawing/2014/main" id="{7794E8CD-5691-4171-9180-BC001F339A3C}"/>
              </a:ext>
            </a:extLst>
          </p:cNvPr>
          <p:cNvSpPr/>
          <p:nvPr userDrawn="1"/>
        </p:nvSpPr>
        <p:spPr>
          <a:xfrm rot="2700000">
            <a:off x="-2228582" y="23850653"/>
            <a:ext cx="13501086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 dirty="0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Google Shape;563;p120">
            <a:extLst>
              <a:ext uri="{FF2B5EF4-FFF2-40B4-BE49-F238E27FC236}">
                <a16:creationId xmlns:a16="http://schemas.microsoft.com/office/drawing/2014/main" id="{347D7040-37D0-45DC-A066-6E3D954D4260}"/>
              </a:ext>
            </a:extLst>
          </p:cNvPr>
          <p:cNvSpPr/>
          <p:nvPr userDrawn="1"/>
        </p:nvSpPr>
        <p:spPr>
          <a:xfrm rot="2700000">
            <a:off x="-654542" y="23850653"/>
            <a:ext cx="13501086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 dirty="0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Google Shape;563;p120">
            <a:extLst>
              <a:ext uri="{FF2B5EF4-FFF2-40B4-BE49-F238E27FC236}">
                <a16:creationId xmlns:a16="http://schemas.microsoft.com/office/drawing/2014/main" id="{62094DD6-243C-4383-BEDF-7C0642DB2545}"/>
              </a:ext>
            </a:extLst>
          </p:cNvPr>
          <p:cNvSpPr/>
          <p:nvPr userDrawn="1"/>
        </p:nvSpPr>
        <p:spPr>
          <a:xfrm rot="2700000">
            <a:off x="930418" y="23850653"/>
            <a:ext cx="13501086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1C293C-D27F-4714-898E-17A3B3C377D1}"/>
              </a:ext>
            </a:extLst>
          </p:cNvPr>
          <p:cNvSpPr txBox="1"/>
          <p:nvPr userDrawn="1"/>
        </p:nvSpPr>
        <p:spPr>
          <a:xfrm>
            <a:off x="0" y="14047238"/>
            <a:ext cx="12192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i="0" u="none" strike="noStrike" cap="none" dirty="0">
                <a:solidFill>
                  <a:srgbClr val="FF564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EASE KEEP THIS CONFIDENTIAL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DF3189-3C21-4848-AE58-F8E289676F71}"/>
              </a:ext>
            </a:extLst>
          </p:cNvPr>
          <p:cNvSpPr txBox="1"/>
          <p:nvPr userDrawn="1"/>
        </p:nvSpPr>
        <p:spPr>
          <a:xfrm>
            <a:off x="1" y="33217342"/>
            <a:ext cx="12191999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…no pictures, video or audio recording, no tweeting, blogging or writing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bout this presentation on social media.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518CA2-BC31-4131-A91F-FF5F34092339}"/>
              </a:ext>
            </a:extLst>
          </p:cNvPr>
          <p:cNvSpPr/>
          <p:nvPr userDrawn="1"/>
        </p:nvSpPr>
        <p:spPr>
          <a:xfrm>
            <a:off x="0" y="0"/>
            <a:ext cx="1249680" cy="76159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B1ACB0-D98E-4758-ABF5-E53375DA2DA9}"/>
              </a:ext>
            </a:extLst>
          </p:cNvPr>
          <p:cNvSpPr/>
          <p:nvPr userDrawn="1"/>
        </p:nvSpPr>
        <p:spPr>
          <a:xfrm>
            <a:off x="0" y="46815954"/>
            <a:ext cx="3428866" cy="3570856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065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  <p:extLst>
    <p:ext uri="{DCECCB84-F9BA-43D5-87BE-67443E8EF086}">
      <p15:sldGuideLst xmlns:p15="http://schemas.microsoft.com/office/powerpoint/2012/main">
        <p15:guide id="1" pos="2688" userDrawn="1">
          <p15:clr>
            <a:srgbClr val="FA7B17"/>
          </p15:clr>
        </p15:guide>
        <p15:guide id="2" pos="4992" userDrawn="1">
          <p15:clr>
            <a:srgbClr val="FA7B17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opening presentation 02" preserve="1">
  <p:cSld name="Cov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569DF2-CA65-4D92-931B-6EF17FF21C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830263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569DF2-CA65-4D92-931B-6EF17FF21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oogle Shape;106;p23">
            <a:extLst>
              <a:ext uri="{FF2B5EF4-FFF2-40B4-BE49-F238E27FC236}">
                <a16:creationId xmlns:a16="http://schemas.microsoft.com/office/drawing/2014/main" id="{25C58ADC-AC70-40A6-98C2-8E532883266B}"/>
              </a:ext>
            </a:extLst>
          </p:cNvPr>
          <p:cNvPicPr preferRelativeResize="0"/>
          <p:nvPr userDrawn="1"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4"/>
            <a:ext cx="12192000" cy="504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5;p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36900" y="17603000"/>
            <a:ext cx="2068902" cy="1519396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3"/>
          <p:cNvSpPr/>
          <p:nvPr/>
        </p:nvSpPr>
        <p:spPr>
          <a:xfrm>
            <a:off x="2298800" y="18891530"/>
            <a:ext cx="29600" cy="12616892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Google Shape;19;p3"/>
          <p:cNvSpPr/>
          <p:nvPr/>
        </p:nvSpPr>
        <p:spPr>
          <a:xfrm>
            <a:off x="0" y="3"/>
            <a:ext cx="949124" cy="697518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2592667" y="18841900"/>
            <a:ext cx="8989800" cy="5220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title" idx="2"/>
          </p:nvPr>
        </p:nvSpPr>
        <p:spPr>
          <a:xfrm>
            <a:off x="2592667" y="26300718"/>
            <a:ext cx="8989800" cy="5220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4258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opening sub-session 01" preserve="1">
  <p:cSld name="CoverLenovo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EF4B77-D8D1-4A91-802F-139A3F7C0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8215810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EF4B77-D8D1-4A91-802F-139A3F7C0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Google Shape;40;p7"/>
          <p:cNvSpPr txBox="1">
            <a:spLocks noGrp="1"/>
          </p:cNvSpPr>
          <p:nvPr>
            <p:ph type="title"/>
          </p:nvPr>
        </p:nvSpPr>
        <p:spPr>
          <a:xfrm>
            <a:off x="745900" y="22672167"/>
            <a:ext cx="6602400" cy="8735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4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41" name="Google Shape;41;p7"/>
          <p:cNvSpPr txBox="1">
            <a:spLocks noGrp="1"/>
          </p:cNvSpPr>
          <p:nvPr>
            <p:ph type="title" idx="2"/>
          </p:nvPr>
        </p:nvSpPr>
        <p:spPr>
          <a:xfrm>
            <a:off x="745900" y="31896694"/>
            <a:ext cx="6602400" cy="70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6" name="Google Shape;10;p2">
            <a:extLst>
              <a:ext uri="{FF2B5EF4-FFF2-40B4-BE49-F238E27FC236}">
                <a16:creationId xmlns:a16="http://schemas.microsoft.com/office/drawing/2014/main" id="{15A027C8-6BEA-4967-91EA-CCD151D3B370}"/>
              </a:ext>
            </a:extLst>
          </p:cNvPr>
          <p:cNvSpPr/>
          <p:nvPr userDrawn="1"/>
        </p:nvSpPr>
        <p:spPr>
          <a:xfrm>
            <a:off x="-1" y="3"/>
            <a:ext cx="884903" cy="6784858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4976C0E-C86F-4BA6-8118-9634BE1594F1}"/>
              </a:ext>
            </a:extLst>
          </p:cNvPr>
          <p:cNvGrpSpPr>
            <a:grpSpLocks noChangeAspect="1"/>
          </p:cNvGrpSpPr>
          <p:nvPr userDrawn="1"/>
        </p:nvGrpSpPr>
        <p:grpSpPr>
          <a:xfrm rot="16200000">
            <a:off x="-1253001" y="18585700"/>
            <a:ext cx="25716182" cy="1167475"/>
            <a:chOff x="547688" y="952500"/>
            <a:chExt cx="12190413" cy="406717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506FD29-FB84-4628-846C-DE92AA3A4C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1218AD2-1FA1-4EE5-B6AB-CAA03844C2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3142E510-5E30-459D-A8CD-CC86013A10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446E7FA3-2B31-451D-9A9B-171F0EC3EF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63E6C69-341A-48FC-817F-5B7809F139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28FC713D-6AAE-4B06-BBD0-6194B85829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6F09BD37-D455-4FC0-A7FC-E1ACDDFDF6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907F3E3D-0EB7-452E-8AE3-0554ECC966EB}"/>
              </a:ext>
            </a:extLst>
          </p:cNvPr>
          <p:cNvSpPr/>
          <p:nvPr userDrawn="1"/>
        </p:nvSpPr>
        <p:spPr>
          <a:xfrm>
            <a:off x="0" y="46815954"/>
            <a:ext cx="3468624" cy="3570856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6EDA322-E12F-4566-8825-912DB5F21D1C}"/>
              </a:ext>
            </a:extLst>
          </p:cNvPr>
          <p:cNvSpPr txBox="1"/>
          <p:nvPr userDrawn="1"/>
        </p:nvSpPr>
        <p:spPr>
          <a:xfrm>
            <a:off x="361346" y="48078353"/>
            <a:ext cx="41148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956"/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Arial" panose="020B0604020202020204" pitchFamily="34" charset="0"/>
              </a:rPr>
              <a:t>2020 Lenovo Confidential. All rights reserved.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5F351666-EA9D-4865-8646-8E20C9F416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Google Shape;17;p3">
            <a:extLst>
              <a:ext uri="{FF2B5EF4-FFF2-40B4-BE49-F238E27FC236}">
                <a16:creationId xmlns:a16="http://schemas.microsoft.com/office/drawing/2014/main" id="{4869EB4E-0EA7-4353-A0DB-55EB7CD403B3}"/>
              </a:ext>
            </a:extLst>
          </p:cNvPr>
          <p:cNvSpPr/>
          <p:nvPr userDrawn="1"/>
        </p:nvSpPr>
        <p:spPr>
          <a:xfrm rot="5400000">
            <a:off x="1460096" y="30829464"/>
            <a:ext cx="217532" cy="1645920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23139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agenda" preserve="1" userDrawn="1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95EB3-2B30-4312-9FEC-6AF618B1A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1454679"/>
              </p:ext>
            </p:extLst>
          </p:nvPr>
        </p:nvGraphicFramePr>
        <p:xfrm>
          <a:off x="1588" y="11672"/>
          <a:ext cx="1588" cy="1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95EB3-2B30-4312-9FEC-6AF618B1A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1672"/>
                        <a:ext cx="1588" cy="1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Google Shape;27;p6"/>
          <p:cNvSpPr txBox="1">
            <a:spLocks noGrp="1"/>
          </p:cNvSpPr>
          <p:nvPr>
            <p:ph type="title"/>
          </p:nvPr>
        </p:nvSpPr>
        <p:spPr>
          <a:xfrm>
            <a:off x="698533" y="21494572"/>
            <a:ext cx="4397200" cy="74108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 dirty="0"/>
          </a:p>
        </p:txBody>
      </p:sp>
      <p:sp>
        <p:nvSpPr>
          <p:cNvPr id="29" name="Google Shape;29;p6"/>
          <p:cNvSpPr txBox="1">
            <a:spLocks noGrp="1"/>
          </p:cNvSpPr>
          <p:nvPr>
            <p:ph type="title" idx="3"/>
          </p:nvPr>
        </p:nvSpPr>
        <p:spPr>
          <a:xfrm>
            <a:off x="6287600" y="12533354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title" idx="4"/>
          </p:nvPr>
        </p:nvSpPr>
        <p:spPr>
          <a:xfrm>
            <a:off x="6287600" y="24144008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 idx="5"/>
          </p:nvPr>
        </p:nvSpPr>
        <p:spPr>
          <a:xfrm>
            <a:off x="6287600" y="35754664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title" idx="8"/>
          </p:nvPr>
        </p:nvSpPr>
        <p:spPr>
          <a:xfrm>
            <a:off x="6287600" y="18338678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title" idx="9"/>
          </p:nvPr>
        </p:nvSpPr>
        <p:spPr>
          <a:xfrm>
            <a:off x="6287600" y="29949336"/>
            <a:ext cx="5294800" cy="2872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1394C7D-ECF2-4A9A-85D3-7F216E60AE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24E14E7-D459-4D7D-8045-CCAF5FF4E2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E77156-54D9-420F-9900-4CE57EA19863}"/>
              </a:ext>
            </a:extLst>
          </p:cNvPr>
          <p:cNvSpPr/>
          <p:nvPr userDrawn="1"/>
        </p:nvSpPr>
        <p:spPr>
          <a:xfrm>
            <a:off x="1" y="2"/>
            <a:ext cx="896293" cy="6520394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674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10.xml"/><Relationship Id="rId9" Type="http://schemas.openxmlformats.org/officeDocument/2006/relationships/vmlDrawing" Target="../drawings/vmlDrawing8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3" Type="http://schemas.openxmlformats.org/officeDocument/2006/relationships/slideLayout" Target="../slideLayouts/slideLayout46.xml"/><Relationship Id="rId7" Type="http://schemas.openxmlformats.org/officeDocument/2006/relationships/theme" Target="../theme/theme4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8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7.xml"/><Relationship Id="rId9" Type="http://schemas.openxmlformats.org/officeDocument/2006/relationships/tags" Target="../tags/tag1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4.xml"/><Relationship Id="rId10" Type="http://schemas.openxmlformats.org/officeDocument/2006/relationships/tags" Target="../tags/tag24.xml"/><Relationship Id="rId4" Type="http://schemas.openxmlformats.org/officeDocument/2006/relationships/slideLayout" Target="../slideLayouts/slideLayout53.xml"/><Relationship Id="rId9" Type="http://schemas.openxmlformats.org/officeDocument/2006/relationships/vmlDrawing" Target="../drawings/vmlDrawing2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 name="simple-light-2"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F40892-D06C-454E-A1E9-C25068071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72332595"/>
              </p:ext>
            </p:extLst>
          </p:nvPr>
        </p:nvGraphicFramePr>
        <p:xfrm>
          <a:off x="1060" y="7786"/>
          <a:ext cx="1059" cy="7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F40892-D06C-454E-A1E9-C25068071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60" y="7786"/>
                        <a:ext cx="1059" cy="77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7CF87B-A69A-4BAD-B4BE-3E42F45B5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2522138"/>
            <a:ext cx="10751226" cy="28262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Google Shape;7;p1">
            <a:extLst>
              <a:ext uri="{FF2B5EF4-FFF2-40B4-BE49-F238E27FC236}">
                <a16:creationId xmlns:a16="http://schemas.microsoft.com/office/drawing/2014/main" id="{C8E8893B-5F7B-43C5-BAC7-DCED1F3507C8}"/>
              </a:ext>
            </a:extLst>
          </p:cNvPr>
          <p:cNvPicPr preferRelativeResize="0"/>
          <p:nvPr userDrawn="1"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0" y="239251"/>
            <a:ext cx="1005840" cy="7391992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942FE8D-AB6D-4F91-A827-F2A1CC520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711EB73-CA00-4F91-9A92-3637046476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7C90B4-7EB8-4A3B-AEF8-F69B9E84B3DA}"/>
              </a:ext>
            </a:extLst>
          </p:cNvPr>
          <p:cNvSpPr txBox="1"/>
          <p:nvPr userDrawn="1"/>
        </p:nvSpPr>
        <p:spPr>
          <a:xfrm>
            <a:off x="232832" y="48078353"/>
            <a:ext cx="41148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defTabSz="1218956">
              <a:defRPr sz="900">
                <a:solidFill>
                  <a:prstClr val="whit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0" i="0" u="none" strike="noStrike" cap="none" dirty="0">
                <a:solidFill>
                  <a:srgbClr val="FFFFFF"/>
                </a:solidFill>
                <a:latin typeface="Arial" pitchFamily="34" charset="0"/>
                <a:ea typeface="Montserrat"/>
                <a:cs typeface="Arial" panose="020B0604020202020204" pitchFamily="34" charset="0"/>
                <a:sym typeface="Arial" panose="020B0604020202020204" pitchFamily="34" charset="0"/>
              </a:rPr>
              <a:t>© 2020., Motorola Mobility LLC. CONFIDENTIAL.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54AF0DE3-22F6-4AF7-9A2C-0A864DC445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9636" y="10817380"/>
            <a:ext cx="10751226" cy="333278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2" r:id="rId1"/>
    <p:sldLayoutId id="2147483700" r:id="rId2"/>
    <p:sldLayoutId id="2147483696" r:id="rId3"/>
    <p:sldLayoutId id="2147483702" r:id="rId4"/>
    <p:sldLayoutId id="2147483668" r:id="rId5"/>
    <p:sldLayoutId id="2147483685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1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225425" marR="0" lvl="0" indent="-225425" algn="l" rtl="0">
        <a:lnSpc>
          <a:spcPct val="100000"/>
        </a:lnSpc>
        <a:spcBef>
          <a:spcPts val="0"/>
        </a:spcBef>
        <a:spcAft>
          <a:spcPts val="0"/>
        </a:spcAft>
        <a:buClr>
          <a:srgbClr val="FFC000"/>
        </a:buClr>
        <a:buFont typeface="Wingdings" panose="05000000000000000000" pitchFamily="2" charset="2"/>
        <a:buChar char="§"/>
        <a:defRPr sz="1600" b="1" i="0" u="none" strike="noStrike" cap="none">
          <a:solidFill>
            <a:srgbClr val="FFC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461963" marR="0" lvl="1" indent="-236538" algn="l" rtl="0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−"/>
        <a:defRPr sz="1400" b="0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688975" marR="0" lvl="2" indent="-227013" algn="l" rtl="0">
        <a:lnSpc>
          <a:spcPct val="100000"/>
        </a:lnSpc>
        <a:spcBef>
          <a:spcPts val="0"/>
        </a:spcBef>
        <a:spcAft>
          <a:spcPts val="0"/>
        </a:spcAft>
        <a:buClr>
          <a:schemeClr val="bg2">
            <a:lumMod val="75000"/>
          </a:schemeClr>
        </a:buClr>
        <a:buFont typeface="Arial" panose="020B0604020202020204" pitchFamily="34" charset="0"/>
        <a:buChar char="•"/>
        <a:defRPr lang="en-US" sz="1200" b="0" i="0" u="none" strike="noStrike" cap="none" dirty="0" smtClean="0">
          <a:solidFill>
            <a:schemeClr val="bg2">
              <a:lumMod val="75000"/>
            </a:schemeClr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28650" marR="0" lvl="3" indent="-166688" algn="l" rtl="0">
        <a:lnSpc>
          <a:spcPct val="100000"/>
        </a:lnSpc>
        <a:spcBef>
          <a:spcPts val="0"/>
        </a:spcBef>
        <a:spcAft>
          <a:spcPts val="0"/>
        </a:spcAft>
        <a:buClr>
          <a:schemeClr val="bg2">
            <a:lumMod val="85000"/>
          </a:schemeClr>
        </a:buClr>
        <a:buFont typeface="Arial" panose="020B0604020202020204" pitchFamily="34" charset="0"/>
        <a:buChar char="•"/>
        <a:defRPr lang="en-US" sz="1000" b="0" i="0" u="none" strike="noStrike" cap="none" dirty="0" smtClean="0">
          <a:solidFill>
            <a:schemeClr val="bg2">
              <a:lumMod val="85000"/>
            </a:schemeClr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chemeClr val="tx1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orient="horz" pos="2822" userDrawn="1">
          <p15:clr>
            <a:srgbClr val="EA4335"/>
          </p15:clr>
        </p15:guide>
        <p15:guide id="3" orient="horz" pos="29152" userDrawn="1">
          <p15:clr>
            <a:srgbClr val="EA4335"/>
          </p15:clr>
        </p15:guide>
        <p15:guide id="4" pos="7296" userDrawn="1">
          <p15:clr>
            <a:srgbClr val="EA4335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F40892-D06C-454E-A1E9-C25068071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05136472"/>
              </p:ext>
            </p:extLst>
          </p:nvPr>
        </p:nvGraphicFramePr>
        <p:xfrm>
          <a:off x="1060" y="7786"/>
          <a:ext cx="1059" cy="7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F40892-D06C-454E-A1E9-C25068071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060" y="7786"/>
                        <a:ext cx="1059" cy="77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oogle Shape;7;p1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0" y="239251"/>
            <a:ext cx="1005840" cy="739199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7CF87B-A69A-4BAD-B4BE-3E42F45B5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2522138"/>
            <a:ext cx="10751226" cy="28262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45" name="Footer Placeholder 4">
            <a:extLst>
              <a:ext uri="{FF2B5EF4-FFF2-40B4-BE49-F238E27FC236}">
                <a16:creationId xmlns:a16="http://schemas.microsoft.com/office/drawing/2014/main" id="{3300E7D5-1F75-4C78-84BC-491606122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6" name="Slide Number Placeholder 5">
            <a:extLst>
              <a:ext uri="{FF2B5EF4-FFF2-40B4-BE49-F238E27FC236}">
                <a16:creationId xmlns:a16="http://schemas.microsoft.com/office/drawing/2014/main" id="{B31EFBFD-81B0-4146-9AFB-9C343778E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48FC8AF-91BB-4240-83E6-DE26ABBA4F1C}"/>
              </a:ext>
            </a:extLst>
          </p:cNvPr>
          <p:cNvGrpSpPr/>
          <p:nvPr userDrawn="1"/>
        </p:nvGrpSpPr>
        <p:grpSpPr>
          <a:xfrm>
            <a:off x="231846" y="47679928"/>
            <a:ext cx="712867" cy="1747890"/>
            <a:chOff x="547688" y="952500"/>
            <a:chExt cx="12190413" cy="4067175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31F15A2-5A38-4298-AD0F-2FD59F93CB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7A64E439-DEE2-4877-BC15-CE37608835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1DB8B8CB-23BA-40E7-BCD7-167667964D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D19BFB36-6D6C-4525-9C2B-53996F8C7F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ECCC0E60-3639-4D36-9A44-D9347B7EB3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F3000ABD-B92F-4B63-91F1-46D089A198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68F07E48-CABE-416D-B956-ABAA79B9B5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272EC085-9727-4BD2-B3BE-B3B3EDB023FE}"/>
              </a:ext>
            </a:extLst>
          </p:cNvPr>
          <p:cNvSpPr txBox="1"/>
          <p:nvPr userDrawn="1"/>
        </p:nvSpPr>
        <p:spPr>
          <a:xfrm>
            <a:off x="984154" y="48078353"/>
            <a:ext cx="41148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956"/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Arial" panose="020B0604020202020204" pitchFamily="34" charset="0"/>
              </a:rPr>
              <a:t>2020 Lenovo Confidential. All rights reserved.</a:t>
            </a:r>
          </a:p>
        </p:txBody>
      </p:sp>
      <p:sp>
        <p:nvSpPr>
          <p:cNvPr id="43" name="Text Placeholder 52">
            <a:extLst>
              <a:ext uri="{FF2B5EF4-FFF2-40B4-BE49-F238E27FC236}">
                <a16:creationId xmlns:a16="http://schemas.microsoft.com/office/drawing/2014/main" id="{7FFD796F-D9B2-4507-85B3-540B16863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9636" y="10817380"/>
            <a:ext cx="10751226" cy="333278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marL="225425" lvl="0" indent="-225425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edit Master text styles</a:t>
            </a:r>
          </a:p>
          <a:p>
            <a:pPr marL="461963" lvl="1" indent="-236538">
              <a:buClr>
                <a:schemeClr val="tx1"/>
              </a:buClr>
              <a:buFont typeface="Arial" panose="020B0604020202020204" pitchFamily="34" charset="0"/>
              <a:buChar char="−"/>
            </a:pPr>
            <a:r>
              <a:rPr lang="en-US" dirty="0"/>
              <a:t>Second</a:t>
            </a:r>
          </a:p>
          <a:p>
            <a:pPr marL="688975" lvl="2" indent="-227013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117412131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7" r:id="rId1"/>
    <p:sldLayoutId id="2147483698" r:id="rId2"/>
    <p:sldLayoutId id="2147483678" r:id="rId3"/>
    <p:sldLayoutId id="2147483701" r:id="rId4"/>
    <p:sldLayoutId id="2147483690" r:id="rId5"/>
    <p:sldLayoutId id="2147483683" r:id="rId6"/>
    <p:sldLayoutId id="2147483693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1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lang="en-US" sz="1600" b="1" i="0" u="none" strike="noStrike" cap="none" dirty="0">
          <a:solidFill>
            <a:srgbClr val="FFC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lang="en-US" sz="1400" b="0" i="0" u="none" strike="noStrike" cap="none" dirty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lang="en-US" sz="1200" b="0" i="0" u="none" strike="noStrike" cap="none" dirty="0">
          <a:solidFill>
            <a:schemeClr val="bg2">
              <a:lumMod val="75000"/>
            </a:schemeClr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lang="en-US" sz="1000" b="0" i="0" u="none" strike="noStrike" cap="none" dirty="0" smtClean="0">
          <a:solidFill>
            <a:schemeClr val="bg2">
              <a:lumMod val="85000"/>
            </a:schemeClr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orient="horz" pos="2822" userDrawn="1">
          <p15:clr>
            <a:srgbClr val="EA4335"/>
          </p15:clr>
        </p15:guide>
        <p15:guide id="3" orient="horz" pos="29152" userDrawn="1">
          <p15:clr>
            <a:srgbClr val="EA4335"/>
          </p15:clr>
        </p15:guide>
        <p15:guide id="4" pos="7296" userDrawn="1">
          <p15:clr>
            <a:srgbClr val="EA4335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396578" y="47577554"/>
            <a:ext cx="41158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latin typeface="Arial" pitchFamily="34" charset="0"/>
                <a:cs typeface="Arial" pitchFamily="34" charset="0"/>
              </a:rPr>
              <a:t>2021 Lenovo Restricted. All rights reserved.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52974" y="47577555"/>
            <a:ext cx="439026" cy="11423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554487" y="47191949"/>
            <a:ext cx="734547" cy="1800582"/>
            <a:chOff x="547688" y="952500"/>
            <a:chExt cx="12190413" cy="40671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2" name="Freeform 10"/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  <p:sp>
          <p:nvSpPr>
            <p:cNvPr id="13" name="Freeform 11"/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33"/>
            </a:p>
          </p:txBody>
        </p:sp>
      </p:grpSp>
    </p:spTree>
    <p:extLst>
      <p:ext uri="{BB962C8B-B14F-4D97-AF65-F5344CB8AC3E}">
        <p14:creationId xmlns:p14="http://schemas.microsoft.com/office/powerpoint/2010/main" val="1369004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30" r:id="rId25"/>
    <p:sldLayoutId id="2147483731" r:id="rId26"/>
    <p:sldLayoutId id="2147483732" r:id="rId27"/>
    <p:sldLayoutId id="2147483733" r:id="rId28"/>
    <p:sldLayoutId id="2147483734" r:id="rId29"/>
    <p:sldLayoutId id="2147483735" r:id="rId30"/>
  </p:sldLayoutIdLst>
  <p:transition spd="med"/>
  <p:hf hdr="0" dt="0"/>
  <p:txStyles>
    <p:titleStyle>
      <a:lvl1pPr algn="ctr" defTabSz="1218987" rtl="0" eaLnBrk="1" latinLnBrk="0" hangingPunct="1">
        <a:spcBef>
          <a:spcPct val="0"/>
        </a:spcBef>
        <a:buNone/>
        <a:defRPr sz="4300" kern="1200" cap="all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4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90427" indent="-380933" algn="l" defTabSz="121898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23733" indent="-304747" algn="l" defTabSz="121898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33227" indent="-304747" algn="l" defTabSz="121898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42720" indent="-304747" algn="l" defTabSz="121898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F40892-D06C-454E-A1E9-C25068071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060" y="7786"/>
          <a:ext cx="1059" cy="7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4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F40892-D06C-454E-A1E9-C25068071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60" y="7786"/>
                        <a:ext cx="1059" cy="77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7CF87B-A69A-4BAD-B4BE-3E42F45B5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2522138"/>
            <a:ext cx="10751226" cy="28262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Google Shape;7;p1">
            <a:extLst>
              <a:ext uri="{FF2B5EF4-FFF2-40B4-BE49-F238E27FC236}">
                <a16:creationId xmlns:a16="http://schemas.microsoft.com/office/drawing/2014/main" id="{C8E8893B-5F7B-43C5-BAC7-DCED1F3507C8}"/>
              </a:ext>
            </a:extLst>
          </p:cNvPr>
          <p:cNvPicPr preferRelativeResize="0"/>
          <p:nvPr userDrawn="1"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0" y="239251"/>
            <a:ext cx="1005840" cy="7391992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942FE8D-AB6D-4F91-A827-F2A1CC520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711EB73-CA00-4F91-9A92-3637046476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7C90B4-7EB8-4A3B-AEF8-F69B9E84B3DA}"/>
              </a:ext>
            </a:extLst>
          </p:cNvPr>
          <p:cNvSpPr txBox="1"/>
          <p:nvPr userDrawn="1"/>
        </p:nvSpPr>
        <p:spPr>
          <a:xfrm>
            <a:off x="232832" y="48078353"/>
            <a:ext cx="41148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defTabSz="1218956">
              <a:defRPr sz="900">
                <a:solidFill>
                  <a:prstClr val="whit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0" i="0" u="none" strike="noStrike" cap="none" dirty="0">
                <a:solidFill>
                  <a:srgbClr val="FFFFFF"/>
                </a:solidFill>
                <a:latin typeface="Arial" pitchFamily="34" charset="0"/>
                <a:ea typeface="Montserrat"/>
                <a:cs typeface="Arial" panose="020B0604020202020204" pitchFamily="34" charset="0"/>
                <a:sym typeface="Arial" panose="020B0604020202020204" pitchFamily="34" charset="0"/>
              </a:rPr>
              <a:t>© 2020., Motorola Mobility LLC. CONFIDENTIAL.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54AF0DE3-22F6-4AF7-9A2C-0A864DC445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9636" y="10817380"/>
            <a:ext cx="10751226" cy="333278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22490547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1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225425" marR="0" lvl="0" indent="-225425" algn="l" rtl="0">
        <a:lnSpc>
          <a:spcPct val="100000"/>
        </a:lnSpc>
        <a:spcBef>
          <a:spcPts val="0"/>
        </a:spcBef>
        <a:spcAft>
          <a:spcPts val="0"/>
        </a:spcAft>
        <a:buClr>
          <a:srgbClr val="FFC000"/>
        </a:buClr>
        <a:buFont typeface="Wingdings" panose="05000000000000000000" pitchFamily="2" charset="2"/>
        <a:buChar char="§"/>
        <a:defRPr sz="1600" b="1" i="0" u="none" strike="noStrike" cap="none">
          <a:solidFill>
            <a:srgbClr val="FFC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461963" marR="0" lvl="1" indent="-236538" algn="l" rtl="0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−"/>
        <a:defRPr sz="1400" b="0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688975" marR="0" lvl="2" indent="-227013" algn="l" rtl="0">
        <a:lnSpc>
          <a:spcPct val="100000"/>
        </a:lnSpc>
        <a:spcBef>
          <a:spcPts val="0"/>
        </a:spcBef>
        <a:spcAft>
          <a:spcPts val="0"/>
        </a:spcAft>
        <a:buClr>
          <a:schemeClr val="bg2">
            <a:lumMod val="75000"/>
          </a:schemeClr>
        </a:buClr>
        <a:buFont typeface="Arial" panose="020B0604020202020204" pitchFamily="34" charset="0"/>
        <a:buChar char="•"/>
        <a:defRPr lang="en-US" sz="1200" b="0" i="0" u="none" strike="noStrike" cap="none" dirty="0" smtClean="0">
          <a:solidFill>
            <a:schemeClr val="bg2">
              <a:lumMod val="75000"/>
            </a:schemeClr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28650" marR="0" lvl="3" indent="-166688" algn="l" rtl="0">
        <a:lnSpc>
          <a:spcPct val="100000"/>
        </a:lnSpc>
        <a:spcBef>
          <a:spcPts val="0"/>
        </a:spcBef>
        <a:spcAft>
          <a:spcPts val="0"/>
        </a:spcAft>
        <a:buClr>
          <a:schemeClr val="bg2">
            <a:lumMod val="85000"/>
          </a:schemeClr>
        </a:buClr>
        <a:buFont typeface="Arial" panose="020B0604020202020204" pitchFamily="34" charset="0"/>
        <a:buChar char="•"/>
        <a:defRPr lang="en-US" sz="1000" b="0" i="0" u="none" strike="noStrike" cap="none" dirty="0" smtClean="0">
          <a:solidFill>
            <a:schemeClr val="bg2">
              <a:lumMod val="85000"/>
            </a:schemeClr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chemeClr val="tx1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orient="horz" pos="2822" userDrawn="1">
          <p15:clr>
            <a:srgbClr val="EA4335"/>
          </p15:clr>
        </p15:guide>
        <p15:guide id="3" orient="horz" pos="29152" userDrawn="1">
          <p15:clr>
            <a:srgbClr val="EA4335"/>
          </p15:clr>
        </p15:guide>
        <p15:guide id="4" pos="7296" userDrawn="1">
          <p15:clr>
            <a:srgbClr val="EA4335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F40892-D06C-454E-A1E9-C25068071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060" y="7786"/>
          <a:ext cx="1059" cy="7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F40892-D06C-454E-A1E9-C25068071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060" y="7786"/>
                        <a:ext cx="1059" cy="77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7CF87B-A69A-4BAD-B4BE-3E42F45B5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2522138"/>
            <a:ext cx="10751226" cy="282621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Google Shape;7;p1">
            <a:extLst>
              <a:ext uri="{FF2B5EF4-FFF2-40B4-BE49-F238E27FC236}">
                <a16:creationId xmlns:a16="http://schemas.microsoft.com/office/drawing/2014/main" id="{C8E8893B-5F7B-43C5-BAC7-DCED1F3507C8}"/>
              </a:ext>
            </a:extLst>
          </p:cNvPr>
          <p:cNvPicPr preferRelativeResize="0"/>
          <p:nvPr userDrawn="1"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0" y="239251"/>
            <a:ext cx="1005840" cy="7391992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942FE8D-AB6D-4F91-A827-F2A1CC520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9" y="45746693"/>
            <a:ext cx="8130345" cy="178112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711EB73-CA00-4F91-9A92-3637046476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47704868"/>
            <a:ext cx="1029548" cy="1434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7C90B4-7EB8-4A3B-AEF8-F69B9E84B3DA}"/>
              </a:ext>
            </a:extLst>
          </p:cNvPr>
          <p:cNvSpPr txBox="1"/>
          <p:nvPr userDrawn="1"/>
        </p:nvSpPr>
        <p:spPr>
          <a:xfrm>
            <a:off x="232832" y="48078353"/>
            <a:ext cx="41148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defTabSz="1218956">
              <a:defRPr sz="900">
                <a:solidFill>
                  <a:prstClr val="whit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0" i="0" u="none" strike="noStrike" cap="none" dirty="0">
                <a:solidFill>
                  <a:srgbClr val="FFFFFF"/>
                </a:solidFill>
                <a:latin typeface="Arial" pitchFamily="34" charset="0"/>
                <a:ea typeface="Montserrat"/>
                <a:cs typeface="Arial" panose="020B0604020202020204" pitchFamily="34" charset="0"/>
                <a:sym typeface="Arial" panose="020B0604020202020204" pitchFamily="34" charset="0"/>
              </a:rPr>
              <a:t>© 2020., Motorola Mobility LLC. CONFIDENTIAL.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54AF0DE3-22F6-4AF7-9A2C-0A864DC445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9636" y="10817380"/>
            <a:ext cx="10751226" cy="333278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157829323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1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1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225425" marR="0" lvl="0" indent="-225425" algn="l" rtl="0">
        <a:lnSpc>
          <a:spcPct val="100000"/>
        </a:lnSpc>
        <a:spcBef>
          <a:spcPts val="0"/>
        </a:spcBef>
        <a:spcAft>
          <a:spcPts val="0"/>
        </a:spcAft>
        <a:buClr>
          <a:srgbClr val="FFC000"/>
        </a:buClr>
        <a:buFont typeface="Wingdings" panose="05000000000000000000" pitchFamily="2" charset="2"/>
        <a:buChar char="§"/>
        <a:defRPr sz="1600" b="1" i="0" u="none" strike="noStrike" cap="none">
          <a:solidFill>
            <a:srgbClr val="FFC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461963" marR="0" lvl="1" indent="-236538" algn="l" rtl="0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−"/>
        <a:defRPr sz="1400" b="0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688975" marR="0" lvl="2" indent="-227013" algn="l" rtl="0">
        <a:lnSpc>
          <a:spcPct val="100000"/>
        </a:lnSpc>
        <a:spcBef>
          <a:spcPts val="0"/>
        </a:spcBef>
        <a:spcAft>
          <a:spcPts val="0"/>
        </a:spcAft>
        <a:buClr>
          <a:schemeClr val="bg2">
            <a:lumMod val="75000"/>
          </a:schemeClr>
        </a:buClr>
        <a:buFont typeface="Arial" panose="020B0604020202020204" pitchFamily="34" charset="0"/>
        <a:buChar char="•"/>
        <a:defRPr lang="en-US" sz="1200" b="0" i="0" u="none" strike="noStrike" cap="none" dirty="0" smtClean="0">
          <a:solidFill>
            <a:schemeClr val="bg2">
              <a:lumMod val="75000"/>
            </a:schemeClr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28650" marR="0" lvl="3" indent="-166688" algn="l" rtl="0">
        <a:lnSpc>
          <a:spcPct val="100000"/>
        </a:lnSpc>
        <a:spcBef>
          <a:spcPts val="0"/>
        </a:spcBef>
        <a:spcAft>
          <a:spcPts val="0"/>
        </a:spcAft>
        <a:buClr>
          <a:schemeClr val="bg2">
            <a:lumMod val="85000"/>
          </a:schemeClr>
        </a:buClr>
        <a:buFont typeface="Arial" panose="020B0604020202020204" pitchFamily="34" charset="0"/>
        <a:buChar char="•"/>
        <a:defRPr lang="en-US" sz="1000" b="0" i="0" u="none" strike="noStrike" cap="none" dirty="0" smtClean="0">
          <a:solidFill>
            <a:schemeClr val="bg2">
              <a:lumMod val="85000"/>
            </a:schemeClr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chemeClr val="tx1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orient="horz" pos="2822" userDrawn="1">
          <p15:clr>
            <a:srgbClr val="EA4335"/>
          </p15:clr>
        </p15:guide>
        <p15:guide id="3" orient="horz" pos="29152" userDrawn="1">
          <p15:clr>
            <a:srgbClr val="EA4335"/>
          </p15:clr>
        </p15:guide>
        <p15:guide id="4" pos="7296" userDrawn="1">
          <p15:clr>
            <a:srgbClr val="EA4335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988C9E15-2DB1-421C-B307-07D8D6F257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7094503"/>
            <a:ext cx="12094481" cy="3227857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4902990" y="4081810"/>
            <a:ext cx="2523391" cy="66821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2804561" y="5506164"/>
            <a:ext cx="1263159" cy="624254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8027190" y="5506164"/>
            <a:ext cx="1263159" cy="624254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4205468" y="6760536"/>
            <a:ext cx="1189891" cy="553917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494511" y="6760536"/>
            <a:ext cx="1189891" cy="553917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9378272" y="6760536"/>
            <a:ext cx="1189891" cy="553917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6657787" y="6760536"/>
            <a:ext cx="1189891" cy="553917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cxnSp>
        <p:nvCxnSpPr>
          <p:cNvPr id="5" name="肘形连接符 4"/>
          <p:cNvCxnSpPr>
            <a:cxnSpLocks/>
            <a:stCxn id="3" idx="2"/>
            <a:endCxn id="22" idx="0"/>
          </p:cNvCxnSpPr>
          <p:nvPr/>
        </p:nvCxnSpPr>
        <p:spPr>
          <a:xfrm rot="5400000">
            <a:off x="4422341" y="3763827"/>
            <a:ext cx="756138" cy="2728545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肘形连接符 31"/>
          <p:cNvCxnSpPr>
            <a:cxnSpLocks/>
            <a:stCxn id="3" idx="2"/>
            <a:endCxn id="23" idx="0"/>
          </p:cNvCxnSpPr>
          <p:nvPr/>
        </p:nvCxnSpPr>
        <p:spPr>
          <a:xfrm rot="16200000" flipH="1">
            <a:off x="7033655" y="3881053"/>
            <a:ext cx="756138" cy="249408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肘形连接符 35"/>
          <p:cNvCxnSpPr>
            <a:cxnSpLocks/>
            <a:stCxn id="22" idx="2"/>
            <a:endCxn id="25" idx="0"/>
          </p:cNvCxnSpPr>
          <p:nvPr/>
        </p:nvCxnSpPr>
        <p:spPr>
          <a:xfrm rot="5400000">
            <a:off x="2447738" y="5772133"/>
            <a:ext cx="630114" cy="134668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肘形连接符 38"/>
          <p:cNvCxnSpPr>
            <a:cxnSpLocks/>
            <a:stCxn id="22" idx="2"/>
            <a:endCxn id="24" idx="0"/>
          </p:cNvCxnSpPr>
          <p:nvPr/>
        </p:nvCxnSpPr>
        <p:spPr>
          <a:xfrm rot="16200000" flipH="1">
            <a:off x="3803216" y="5763342"/>
            <a:ext cx="630114" cy="136427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肘形连接符 41"/>
          <p:cNvCxnSpPr>
            <a:cxnSpLocks/>
            <a:stCxn id="23" idx="2"/>
            <a:endCxn id="27" idx="0"/>
          </p:cNvCxnSpPr>
          <p:nvPr/>
        </p:nvCxnSpPr>
        <p:spPr>
          <a:xfrm rot="5400000">
            <a:off x="7640691" y="5742461"/>
            <a:ext cx="630114" cy="140603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肘形连接符 44"/>
          <p:cNvCxnSpPr>
            <a:cxnSpLocks/>
            <a:stCxn id="23" idx="2"/>
            <a:endCxn id="26" idx="0"/>
          </p:cNvCxnSpPr>
          <p:nvPr/>
        </p:nvCxnSpPr>
        <p:spPr>
          <a:xfrm rot="16200000" flipH="1">
            <a:off x="9000933" y="5788251"/>
            <a:ext cx="630114" cy="131444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/>
          <p:cNvSpPr txBox="1"/>
          <p:nvPr/>
        </p:nvSpPr>
        <p:spPr>
          <a:xfrm>
            <a:off x="237396" y="288373"/>
            <a:ext cx="38779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>
                <a:latin typeface="Arial" pitchFamily="34" charset="0"/>
                <a:cs typeface="Arial" pitchFamily="34" charset="0"/>
              </a:rPr>
              <a:t>XXX</a:t>
            </a:r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问题分析报告</a:t>
            </a:r>
          </a:p>
        </p:txBody>
      </p:sp>
      <p:graphicFrame>
        <p:nvGraphicFramePr>
          <p:cNvPr id="41" name="表格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652734"/>
              </p:ext>
            </p:extLst>
          </p:nvPr>
        </p:nvGraphicFramePr>
        <p:xfrm>
          <a:off x="281948" y="7991082"/>
          <a:ext cx="11576968" cy="131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88484">
                  <a:extLst>
                    <a:ext uri="{9D8B030D-6E8A-4147-A177-3AD203B41FA5}">
                      <a16:colId xmlns:a16="http://schemas.microsoft.com/office/drawing/2014/main" val="4190695612"/>
                    </a:ext>
                  </a:extLst>
                </a:gridCol>
                <a:gridCol w="5788484">
                  <a:extLst>
                    <a:ext uri="{9D8B030D-6E8A-4147-A177-3AD203B41FA5}">
                      <a16:colId xmlns:a16="http://schemas.microsoft.com/office/drawing/2014/main" val="2478122272"/>
                    </a:ext>
                  </a:extLst>
                </a:gridCol>
              </a:tblGrid>
              <a:tr h="1164651">
                <a:tc>
                  <a:txBody>
                    <a:bodyPr/>
                    <a:lstStyle/>
                    <a:p>
                      <a:pPr>
                        <a:lnSpc>
                          <a:spcPts val="2400"/>
                        </a:lnSpc>
                      </a:pPr>
                      <a:r>
                        <a:rPr lang="zh-CN" altLang="en-US" sz="1800" dirty="0">
                          <a:solidFill>
                            <a:schemeClr val="tx1"/>
                          </a:solidFill>
                        </a:rPr>
                        <a:t>分析结论：</a:t>
                      </a:r>
                      <a:endParaRPr lang="en-US" altLang="zh-CN" sz="18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1.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2.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3.</a:t>
                      </a:r>
                      <a:endParaRPr lang="zh-CN" alt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>
                          <a:solidFill>
                            <a:schemeClr val="tx1"/>
                          </a:solidFill>
                        </a:rPr>
                        <a:t>下一步计划：</a:t>
                      </a:r>
                      <a:endParaRPr lang="en-US" altLang="zh-CN" sz="18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1.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2.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3.</a:t>
                      </a:r>
                      <a:endParaRPr lang="zh-CN" alt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9400877"/>
                  </a:ext>
                </a:extLst>
              </a:tr>
            </a:tbl>
          </a:graphicData>
        </a:graphic>
      </p:graphicFrame>
      <p:sp>
        <p:nvSpPr>
          <p:cNvPr id="59" name="文本框 58"/>
          <p:cNvSpPr txBox="1"/>
          <p:nvPr/>
        </p:nvSpPr>
        <p:spPr>
          <a:xfrm>
            <a:off x="237398" y="10237346"/>
            <a:ext cx="30828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附件</a:t>
            </a:r>
            <a:r>
              <a:rPr lang="en-US" altLang="zh-CN" sz="3600" b="1" dirty="0">
                <a:latin typeface="Arial" pitchFamily="34" charset="0"/>
                <a:cs typeface="Arial" pitchFamily="34" charset="0"/>
              </a:rPr>
              <a:t>/</a:t>
            </a:r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排查信息</a:t>
            </a:r>
          </a:p>
        </p:txBody>
      </p:sp>
      <p:sp>
        <p:nvSpPr>
          <p:cNvPr id="60" name="矩形 59"/>
          <p:cNvSpPr/>
          <p:nvPr/>
        </p:nvSpPr>
        <p:spPr>
          <a:xfrm>
            <a:off x="318865" y="10944477"/>
            <a:ext cx="11746523" cy="391806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4938996" y="11078387"/>
            <a:ext cx="2963007" cy="771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物料排查信息</a:t>
            </a:r>
          </a:p>
        </p:txBody>
      </p:sp>
      <p:sp>
        <p:nvSpPr>
          <p:cNvPr id="73" name="矩形 72"/>
          <p:cNvSpPr/>
          <p:nvPr/>
        </p:nvSpPr>
        <p:spPr>
          <a:xfrm>
            <a:off x="942421" y="12363460"/>
            <a:ext cx="2963007" cy="998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</a:rPr>
              <a:t>ME </a:t>
            </a:r>
            <a:r>
              <a:rPr lang="zh-CN" altLang="en-US" sz="2800" b="1" dirty="0">
                <a:solidFill>
                  <a:schemeClr val="tx1"/>
                </a:solidFill>
              </a:rPr>
              <a:t>分析报告</a:t>
            </a:r>
          </a:p>
        </p:txBody>
      </p:sp>
      <p:sp>
        <p:nvSpPr>
          <p:cNvPr id="77" name="矩形 76"/>
          <p:cNvSpPr/>
          <p:nvPr/>
        </p:nvSpPr>
        <p:spPr>
          <a:xfrm>
            <a:off x="4950809" y="13013002"/>
            <a:ext cx="2963007" cy="79500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组装排查信息</a:t>
            </a:r>
          </a:p>
        </p:txBody>
      </p:sp>
      <p:sp>
        <p:nvSpPr>
          <p:cNvPr id="79" name="矩形 78"/>
          <p:cNvSpPr/>
          <p:nvPr/>
        </p:nvSpPr>
        <p:spPr>
          <a:xfrm>
            <a:off x="4953601" y="12052192"/>
            <a:ext cx="2963007" cy="771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</a:rPr>
              <a:t>SMT</a:t>
            </a:r>
            <a:r>
              <a:rPr lang="zh-CN" altLang="en-US" sz="2800" b="1" dirty="0">
                <a:solidFill>
                  <a:schemeClr val="tx1"/>
                </a:solidFill>
              </a:rPr>
              <a:t>排查信息</a:t>
            </a:r>
          </a:p>
        </p:txBody>
      </p:sp>
      <p:sp>
        <p:nvSpPr>
          <p:cNvPr id="82" name="矩形 81"/>
          <p:cNvSpPr/>
          <p:nvPr/>
        </p:nvSpPr>
        <p:spPr>
          <a:xfrm>
            <a:off x="937421" y="11221925"/>
            <a:ext cx="2963007" cy="998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</a:rPr>
              <a:t>FAE </a:t>
            </a:r>
            <a:r>
              <a:rPr lang="zh-CN" altLang="en-US" sz="2800" b="1" dirty="0">
                <a:solidFill>
                  <a:schemeClr val="tx1"/>
                </a:solidFill>
              </a:rPr>
              <a:t>分析报告</a:t>
            </a:r>
          </a:p>
        </p:txBody>
      </p:sp>
      <p:sp>
        <p:nvSpPr>
          <p:cNvPr id="83" name="矩形 82"/>
          <p:cNvSpPr/>
          <p:nvPr/>
        </p:nvSpPr>
        <p:spPr>
          <a:xfrm>
            <a:off x="4950809" y="14030990"/>
            <a:ext cx="2963007" cy="6976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测试排查信息</a:t>
            </a:r>
          </a:p>
        </p:txBody>
      </p:sp>
      <p:cxnSp>
        <p:nvCxnSpPr>
          <p:cNvPr id="86" name="直接连接符 85"/>
          <p:cNvCxnSpPr/>
          <p:nvPr/>
        </p:nvCxnSpPr>
        <p:spPr>
          <a:xfrm flipV="1">
            <a:off x="0" y="15146463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7" name="文本框 86"/>
          <p:cNvSpPr txBox="1"/>
          <p:nvPr/>
        </p:nvSpPr>
        <p:spPr>
          <a:xfrm>
            <a:off x="271051" y="18659924"/>
            <a:ext cx="27238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>
                <a:latin typeface="Arial" pitchFamily="34" charset="0"/>
                <a:cs typeface="Arial" pitchFamily="34" charset="0"/>
              </a:rPr>
              <a:t>ME</a:t>
            </a:r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分析报告</a:t>
            </a:r>
          </a:p>
        </p:txBody>
      </p:sp>
      <p:sp>
        <p:nvSpPr>
          <p:cNvPr id="88" name="矩形 87"/>
          <p:cNvSpPr/>
          <p:nvPr/>
        </p:nvSpPr>
        <p:spPr>
          <a:xfrm>
            <a:off x="273886" y="19295323"/>
            <a:ext cx="11746523" cy="270479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591840" y="19460770"/>
            <a:ext cx="3465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分析结论： </a:t>
            </a:r>
            <a:r>
              <a:rPr lang="en-US" altLang="zh-CN" sz="1800" dirty="0">
                <a:latin typeface="Arial" pitchFamily="34" charset="0"/>
                <a:cs typeface="Arial" pitchFamily="34" charset="0"/>
              </a:rPr>
              <a:t>XXX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主板问题</a:t>
            </a:r>
          </a:p>
        </p:txBody>
      </p:sp>
      <p:sp>
        <p:nvSpPr>
          <p:cNvPr id="89" name="文本框 88"/>
          <p:cNvSpPr txBox="1"/>
          <p:nvPr/>
        </p:nvSpPr>
        <p:spPr>
          <a:xfrm>
            <a:off x="633035" y="19975875"/>
            <a:ext cx="34655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分析步骤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52" name="矩形 51"/>
          <p:cNvSpPr/>
          <p:nvPr/>
        </p:nvSpPr>
        <p:spPr>
          <a:xfrm>
            <a:off x="10221786" y="21289821"/>
            <a:ext cx="1736203" cy="6163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32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53" name="椭圆 52"/>
          <p:cNvSpPr/>
          <p:nvPr/>
        </p:nvSpPr>
        <p:spPr>
          <a:xfrm>
            <a:off x="11719437" y="19320887"/>
            <a:ext cx="288000" cy="288000"/>
          </a:xfrm>
          <a:prstGeom prst="ellipse">
            <a:avLst/>
          </a:prstGeom>
          <a:solidFill>
            <a:srgbClr val="6F71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11692962" y="19222549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×</a:t>
            </a:r>
            <a:endParaRPr lang="zh-CN" altLang="en-US" sz="240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0" name="矩形 89"/>
          <p:cNvSpPr/>
          <p:nvPr/>
        </p:nvSpPr>
        <p:spPr>
          <a:xfrm>
            <a:off x="633035" y="21206466"/>
            <a:ext cx="2058294" cy="6163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3200" b="1" dirty="0">
                <a:solidFill>
                  <a:schemeClr val="tx1"/>
                </a:solidFill>
              </a:rPr>
              <a:t>TR</a:t>
            </a:r>
            <a:r>
              <a:rPr lang="zh-CN" altLang="en-US" sz="3200" b="1" dirty="0">
                <a:solidFill>
                  <a:schemeClr val="tx1"/>
                </a:solidFill>
              </a:rPr>
              <a:t>上传</a:t>
            </a:r>
          </a:p>
        </p:txBody>
      </p:sp>
      <p:sp>
        <p:nvSpPr>
          <p:cNvPr id="91" name="矩形 90"/>
          <p:cNvSpPr/>
          <p:nvPr/>
        </p:nvSpPr>
        <p:spPr>
          <a:xfrm>
            <a:off x="281948" y="15827223"/>
            <a:ext cx="11746523" cy="27909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92" name="文本框 91"/>
          <p:cNvSpPr txBox="1"/>
          <p:nvPr/>
        </p:nvSpPr>
        <p:spPr>
          <a:xfrm>
            <a:off x="599902" y="15992670"/>
            <a:ext cx="3465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分析结论： </a:t>
            </a:r>
            <a:r>
              <a:rPr lang="en-US" altLang="zh-CN" sz="1800" dirty="0">
                <a:latin typeface="Arial" pitchFamily="34" charset="0"/>
                <a:cs typeface="Arial" pitchFamily="34" charset="0"/>
              </a:rPr>
              <a:t>XXX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物料不良</a:t>
            </a:r>
          </a:p>
        </p:txBody>
      </p:sp>
      <p:sp>
        <p:nvSpPr>
          <p:cNvPr id="94" name="矩形 93"/>
          <p:cNvSpPr/>
          <p:nvPr/>
        </p:nvSpPr>
        <p:spPr>
          <a:xfrm>
            <a:off x="10229848" y="17875901"/>
            <a:ext cx="1736203" cy="65913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32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97" name="矩形 96"/>
          <p:cNvSpPr/>
          <p:nvPr/>
        </p:nvSpPr>
        <p:spPr>
          <a:xfrm>
            <a:off x="641098" y="17792546"/>
            <a:ext cx="2252921" cy="65913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3200" b="1" dirty="0">
                <a:solidFill>
                  <a:schemeClr val="tx1"/>
                </a:solidFill>
              </a:rPr>
              <a:t>报告上</a:t>
            </a:r>
            <a:r>
              <a:rPr lang="zh-CN" altLang="en-US" sz="3200" b="1" dirty="0" smtClean="0">
                <a:solidFill>
                  <a:schemeClr val="tx1"/>
                </a:solidFill>
              </a:rPr>
              <a:t>传</a:t>
            </a:r>
            <a:endParaRPr lang="zh-CN" altLang="en-US" sz="3200" b="1" dirty="0">
              <a:solidFill>
                <a:schemeClr val="tx1"/>
              </a:solidFill>
            </a:endParaRPr>
          </a:p>
        </p:txBody>
      </p:sp>
      <p:sp>
        <p:nvSpPr>
          <p:cNvPr id="98" name="文本框 97"/>
          <p:cNvSpPr txBox="1"/>
          <p:nvPr/>
        </p:nvSpPr>
        <p:spPr>
          <a:xfrm>
            <a:off x="198439" y="15169768"/>
            <a:ext cx="29546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>
                <a:latin typeface="Arial" pitchFamily="34" charset="0"/>
                <a:cs typeface="Arial" pitchFamily="34" charset="0"/>
              </a:rPr>
              <a:t>FAE</a:t>
            </a:r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分析报告</a:t>
            </a:r>
          </a:p>
        </p:txBody>
      </p:sp>
      <p:grpSp>
        <p:nvGrpSpPr>
          <p:cNvPr id="55" name="组合 54"/>
          <p:cNvGrpSpPr/>
          <p:nvPr/>
        </p:nvGrpSpPr>
        <p:grpSpPr>
          <a:xfrm>
            <a:off x="11683710" y="15770134"/>
            <a:ext cx="364202" cy="461665"/>
            <a:chOff x="12153899" y="17078314"/>
            <a:chExt cx="364202" cy="461665"/>
          </a:xfrm>
        </p:grpSpPr>
        <p:sp>
          <p:nvSpPr>
            <p:cNvPr id="107" name="椭圆 106"/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106" name="文本框 105"/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2" name="文本框 131"/>
          <p:cNvSpPr txBox="1"/>
          <p:nvPr/>
        </p:nvSpPr>
        <p:spPr>
          <a:xfrm>
            <a:off x="752302" y="16608054"/>
            <a:ext cx="34655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分析步骤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77" name="文本框 176"/>
          <p:cNvSpPr txBox="1"/>
          <p:nvPr/>
        </p:nvSpPr>
        <p:spPr>
          <a:xfrm>
            <a:off x="318787" y="33692719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人员排查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78" name="矩形 177"/>
          <p:cNvSpPr/>
          <p:nvPr/>
        </p:nvSpPr>
        <p:spPr>
          <a:xfrm>
            <a:off x="264665" y="30847097"/>
            <a:ext cx="11746523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179" name="文本框 178"/>
          <p:cNvSpPr txBox="1"/>
          <p:nvPr/>
        </p:nvSpPr>
        <p:spPr>
          <a:xfrm>
            <a:off x="296216" y="30253979"/>
            <a:ext cx="30059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>
                <a:latin typeface="Arial" pitchFamily="34" charset="0"/>
                <a:cs typeface="Arial" pitchFamily="34" charset="0"/>
              </a:rPr>
              <a:t>SMT</a:t>
            </a:r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信息排查</a:t>
            </a:r>
          </a:p>
        </p:txBody>
      </p:sp>
      <p:sp>
        <p:nvSpPr>
          <p:cNvPr id="180" name="矩形 179"/>
          <p:cNvSpPr/>
          <p:nvPr/>
        </p:nvSpPr>
        <p:spPr>
          <a:xfrm>
            <a:off x="6519222" y="32367862"/>
            <a:ext cx="2963007" cy="8439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环</a:t>
            </a:r>
          </a:p>
        </p:txBody>
      </p:sp>
      <p:sp>
        <p:nvSpPr>
          <p:cNvPr id="181" name="矩形 180"/>
          <p:cNvSpPr/>
          <p:nvPr/>
        </p:nvSpPr>
        <p:spPr>
          <a:xfrm>
            <a:off x="2005861" y="31080681"/>
            <a:ext cx="2963007" cy="998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人</a:t>
            </a:r>
          </a:p>
        </p:txBody>
      </p:sp>
      <p:sp>
        <p:nvSpPr>
          <p:cNvPr id="182" name="矩形 181"/>
          <p:cNvSpPr/>
          <p:nvPr/>
        </p:nvSpPr>
        <p:spPr>
          <a:xfrm>
            <a:off x="6519223" y="31080683"/>
            <a:ext cx="2963007" cy="9271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机</a:t>
            </a:r>
          </a:p>
        </p:txBody>
      </p:sp>
      <p:sp>
        <p:nvSpPr>
          <p:cNvPr id="183" name="矩形 182"/>
          <p:cNvSpPr/>
          <p:nvPr/>
        </p:nvSpPr>
        <p:spPr>
          <a:xfrm>
            <a:off x="2005861" y="32367862"/>
            <a:ext cx="2963007" cy="8439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法</a:t>
            </a:r>
          </a:p>
        </p:txBody>
      </p:sp>
      <p:grpSp>
        <p:nvGrpSpPr>
          <p:cNvPr id="184" name="组合 183"/>
          <p:cNvGrpSpPr/>
          <p:nvPr/>
        </p:nvGrpSpPr>
        <p:grpSpPr>
          <a:xfrm>
            <a:off x="11642491" y="30777702"/>
            <a:ext cx="364202" cy="461665"/>
            <a:chOff x="12153899" y="17078314"/>
            <a:chExt cx="364202" cy="461665"/>
          </a:xfrm>
        </p:grpSpPr>
        <p:sp>
          <p:nvSpPr>
            <p:cNvPr id="185" name="椭圆 184"/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186" name="文本框 185"/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87" name="矩形 186"/>
          <p:cNvSpPr/>
          <p:nvPr/>
        </p:nvSpPr>
        <p:spPr>
          <a:xfrm>
            <a:off x="257240" y="3362748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188" name="矩形 187"/>
          <p:cNvSpPr/>
          <p:nvPr/>
        </p:nvSpPr>
        <p:spPr>
          <a:xfrm>
            <a:off x="3238303" y="3362748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189" name="矩形 188"/>
          <p:cNvSpPr/>
          <p:nvPr/>
        </p:nvSpPr>
        <p:spPr>
          <a:xfrm>
            <a:off x="6177989" y="3362748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190" name="矩形 189"/>
          <p:cNvSpPr/>
          <p:nvPr/>
        </p:nvSpPr>
        <p:spPr>
          <a:xfrm>
            <a:off x="9143175" y="3362748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grpSp>
        <p:nvGrpSpPr>
          <p:cNvPr id="191" name="组合 190"/>
          <p:cNvGrpSpPr/>
          <p:nvPr/>
        </p:nvGrpSpPr>
        <p:grpSpPr>
          <a:xfrm>
            <a:off x="11642491" y="33588634"/>
            <a:ext cx="364202" cy="461665"/>
            <a:chOff x="12153899" y="17078314"/>
            <a:chExt cx="364202" cy="461665"/>
          </a:xfrm>
        </p:grpSpPr>
        <p:sp>
          <p:nvSpPr>
            <p:cNvPr id="192" name="椭圆 191"/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193" name="文本框 192"/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94" name="组合 193"/>
          <p:cNvGrpSpPr/>
          <p:nvPr/>
        </p:nvGrpSpPr>
        <p:grpSpPr>
          <a:xfrm>
            <a:off x="8649440" y="33565022"/>
            <a:ext cx="364202" cy="461665"/>
            <a:chOff x="12153899" y="17078314"/>
            <a:chExt cx="364202" cy="461665"/>
          </a:xfrm>
        </p:grpSpPr>
        <p:sp>
          <p:nvSpPr>
            <p:cNvPr id="195" name="椭圆 194"/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196" name="文本框 195"/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97" name="组合 196"/>
          <p:cNvGrpSpPr/>
          <p:nvPr/>
        </p:nvGrpSpPr>
        <p:grpSpPr>
          <a:xfrm>
            <a:off x="5730165" y="33552091"/>
            <a:ext cx="364202" cy="461665"/>
            <a:chOff x="12153899" y="17078314"/>
            <a:chExt cx="364202" cy="461665"/>
          </a:xfrm>
        </p:grpSpPr>
        <p:sp>
          <p:nvSpPr>
            <p:cNvPr id="198" name="椭圆 197"/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199" name="文本框 109"/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00" name="组合 199"/>
          <p:cNvGrpSpPr/>
          <p:nvPr/>
        </p:nvGrpSpPr>
        <p:grpSpPr>
          <a:xfrm>
            <a:off x="2775215" y="33552090"/>
            <a:ext cx="364202" cy="461665"/>
            <a:chOff x="12153899" y="17078314"/>
            <a:chExt cx="364202" cy="461665"/>
          </a:xfrm>
        </p:grpSpPr>
        <p:sp>
          <p:nvSpPr>
            <p:cNvPr id="201" name="椭圆 200"/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202" name="文本框 109"/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3" name="矩形 202"/>
          <p:cNvSpPr/>
          <p:nvPr/>
        </p:nvSpPr>
        <p:spPr>
          <a:xfrm>
            <a:off x="10788181" y="3549907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204" name="矩形 203"/>
          <p:cNvSpPr/>
          <p:nvPr/>
        </p:nvSpPr>
        <p:spPr>
          <a:xfrm>
            <a:off x="7831352" y="3549907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205" name="矩形 204"/>
          <p:cNvSpPr/>
          <p:nvPr/>
        </p:nvSpPr>
        <p:spPr>
          <a:xfrm>
            <a:off x="4904300" y="3549907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206" name="矩形 205"/>
          <p:cNvSpPr/>
          <p:nvPr/>
        </p:nvSpPr>
        <p:spPr>
          <a:xfrm>
            <a:off x="1894761" y="3549907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207" name="矩形 206"/>
          <p:cNvSpPr/>
          <p:nvPr/>
        </p:nvSpPr>
        <p:spPr>
          <a:xfrm>
            <a:off x="294218" y="35499073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208" name="矩形 207"/>
          <p:cNvSpPr/>
          <p:nvPr/>
        </p:nvSpPr>
        <p:spPr>
          <a:xfrm>
            <a:off x="3321561" y="35499072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209" name="矩形 208"/>
          <p:cNvSpPr/>
          <p:nvPr/>
        </p:nvSpPr>
        <p:spPr>
          <a:xfrm>
            <a:off x="6262900" y="35499071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210" name="矩形 209"/>
          <p:cNvSpPr/>
          <p:nvPr/>
        </p:nvSpPr>
        <p:spPr>
          <a:xfrm>
            <a:off x="9196236" y="35499070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211" name="文本框 210"/>
          <p:cNvSpPr txBox="1"/>
          <p:nvPr/>
        </p:nvSpPr>
        <p:spPr>
          <a:xfrm>
            <a:off x="3384799" y="33675467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设备排查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12" name="文本框 211"/>
          <p:cNvSpPr txBox="1"/>
          <p:nvPr/>
        </p:nvSpPr>
        <p:spPr>
          <a:xfrm>
            <a:off x="6231673" y="33692719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方法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13" name="文本框 212"/>
          <p:cNvSpPr txBox="1"/>
          <p:nvPr/>
        </p:nvSpPr>
        <p:spPr>
          <a:xfrm>
            <a:off x="9205505" y="33670471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环境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15" name="矩形 214"/>
          <p:cNvSpPr/>
          <p:nvPr/>
        </p:nvSpPr>
        <p:spPr>
          <a:xfrm>
            <a:off x="8839504" y="13190969"/>
            <a:ext cx="2963008" cy="9057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其他</a:t>
            </a:r>
          </a:p>
        </p:txBody>
      </p:sp>
      <p:sp>
        <p:nvSpPr>
          <p:cNvPr id="216" name="矩形 215"/>
          <p:cNvSpPr/>
          <p:nvPr/>
        </p:nvSpPr>
        <p:spPr>
          <a:xfrm>
            <a:off x="8828830" y="11960836"/>
            <a:ext cx="2963007" cy="998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研发分析思路</a:t>
            </a:r>
          </a:p>
        </p:txBody>
      </p:sp>
      <p:sp>
        <p:nvSpPr>
          <p:cNvPr id="217" name="矩形 216"/>
          <p:cNvSpPr/>
          <p:nvPr/>
        </p:nvSpPr>
        <p:spPr>
          <a:xfrm>
            <a:off x="929793" y="13510914"/>
            <a:ext cx="2963007" cy="998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</a:rPr>
              <a:t>EE </a:t>
            </a:r>
            <a:r>
              <a:rPr lang="zh-CN" altLang="en-US" sz="2800" b="1" dirty="0">
                <a:solidFill>
                  <a:schemeClr val="tx1"/>
                </a:solidFill>
              </a:rPr>
              <a:t>分析</a:t>
            </a:r>
            <a:r>
              <a:rPr lang="zh-CN" altLang="en-US" sz="2800" b="1" dirty="0" smtClean="0">
                <a:solidFill>
                  <a:schemeClr val="tx1"/>
                </a:solidFill>
              </a:rPr>
              <a:t>报告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676701"/>
              </p:ext>
            </p:extLst>
          </p:nvPr>
        </p:nvGraphicFramePr>
        <p:xfrm>
          <a:off x="281948" y="9359066"/>
          <a:ext cx="11576968" cy="70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4242">
                  <a:extLst>
                    <a:ext uri="{9D8B030D-6E8A-4147-A177-3AD203B41FA5}">
                      <a16:colId xmlns:a16="http://schemas.microsoft.com/office/drawing/2014/main" val="485906352"/>
                    </a:ext>
                  </a:extLst>
                </a:gridCol>
                <a:gridCol w="2894242">
                  <a:extLst>
                    <a:ext uri="{9D8B030D-6E8A-4147-A177-3AD203B41FA5}">
                      <a16:colId xmlns:a16="http://schemas.microsoft.com/office/drawing/2014/main" val="170499128"/>
                    </a:ext>
                  </a:extLst>
                </a:gridCol>
                <a:gridCol w="2894242">
                  <a:extLst>
                    <a:ext uri="{9D8B030D-6E8A-4147-A177-3AD203B41FA5}">
                      <a16:colId xmlns:a16="http://schemas.microsoft.com/office/drawing/2014/main" val="1455494305"/>
                    </a:ext>
                  </a:extLst>
                </a:gridCol>
                <a:gridCol w="2894242">
                  <a:extLst>
                    <a:ext uri="{9D8B030D-6E8A-4147-A177-3AD203B41FA5}">
                      <a16:colId xmlns:a16="http://schemas.microsoft.com/office/drawing/2014/main" val="3548312182"/>
                    </a:ext>
                  </a:extLst>
                </a:gridCol>
              </a:tblGrid>
              <a:tr h="599717"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>
                          <a:solidFill>
                            <a:schemeClr val="tx1"/>
                          </a:solidFill>
                        </a:rPr>
                        <a:t>会议纪要</a:t>
                      </a: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>
                          <a:solidFill>
                            <a:schemeClr val="tx1"/>
                          </a:solidFill>
                        </a:rPr>
                        <a:t>会议纪要</a:t>
                      </a: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zh-CN" altLang="en-US" sz="18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>
                          <a:solidFill>
                            <a:schemeClr val="tx1"/>
                          </a:solidFill>
                        </a:rPr>
                        <a:t>会议纪要</a:t>
                      </a: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zh-CN" altLang="en-US" sz="18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>
                          <a:solidFill>
                            <a:schemeClr val="tx1"/>
                          </a:solidFill>
                        </a:rPr>
                        <a:t>会议纪要</a:t>
                      </a:r>
                      <a:r>
                        <a:rPr lang="en-US" altLang="zh-CN" sz="1800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zh-CN" altLang="en-US" sz="18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0099200"/>
                  </a:ext>
                </a:extLst>
              </a:tr>
            </a:tbl>
          </a:graphicData>
        </a:graphic>
      </p:graphicFrame>
      <p:graphicFrame>
        <p:nvGraphicFramePr>
          <p:cNvPr id="214" name="表格 213">
            <a:extLst>
              <a:ext uri="{FF2B5EF4-FFF2-40B4-BE49-F238E27FC236}">
                <a16:creationId xmlns:a16="http://schemas.microsoft.com/office/drawing/2014/main" id="{C3108DB4-10ED-4DEB-BD64-3CF1C21AD7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925481"/>
              </p:ext>
            </p:extLst>
          </p:nvPr>
        </p:nvGraphicFramePr>
        <p:xfrm>
          <a:off x="285104" y="971398"/>
          <a:ext cx="11576970" cy="2929626"/>
        </p:xfrm>
        <a:graphic>
          <a:graphicData uri="http://schemas.openxmlformats.org/drawingml/2006/table">
            <a:tbl>
              <a:tblPr/>
              <a:tblGrid>
                <a:gridCol w="12761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90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006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03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206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57352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</a:rPr>
                        <a:t>基础信息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</a:rPr>
                        <a:t>发生时间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</a:rPr>
                        <a:t>发生地点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200" b="1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charset="0"/>
                        <a:sym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880">
                <a:tc vMerge="1"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 anchor="ctr">
                    <a:lnL w="9525" cmpd="sng">
                      <a:solidFill>
                        <a:schemeClr val="tx1"/>
                      </a:solidFill>
                      <a:prstDash val="soli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</a:rPr>
                        <a:t>产品型号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8987" rtl="0" eaLnBrk="1" latinLnBrk="0" hangingPunct="1"/>
                      <a:endParaRPr lang="zh-CN" alt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</a:rPr>
                        <a:t>不良率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i="0" u="none" strike="noStrike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charset="0"/>
                        <a:sym typeface="Arial"/>
                      </a:endParaRPr>
                    </a:p>
                  </a:txBody>
                  <a:tcPr marL="0" marR="0" marT="15240" marB="1524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6914">
                <a:tc>
                  <a:txBody>
                    <a:bodyPr/>
                    <a:lstStyle/>
                    <a:p>
                      <a:pPr marL="0" marR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问题描述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altLang="zh-CN" sz="1200" b="0" i="0" u="none" strike="noStrike" cap="none" dirty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0720">
                <a:tc>
                  <a:txBody>
                    <a:bodyPr/>
                    <a:lstStyle/>
                    <a:p>
                      <a:pPr marL="0" marR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不良原因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200" u="non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3760">
                <a:tc>
                  <a:txBody>
                    <a:bodyPr/>
                    <a:lstStyle/>
                    <a:p>
                      <a:pPr marL="0" marR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不良图片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zh-CN" sz="1200" u="non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2962536"/>
                  </a:ext>
                </a:extLst>
              </a:tr>
            </a:tbl>
          </a:graphicData>
        </a:graphic>
      </p:graphicFrame>
      <p:sp>
        <p:nvSpPr>
          <p:cNvPr id="2" name="矩形 1">
            <a:extLst>
              <a:ext uri="{FF2B5EF4-FFF2-40B4-BE49-F238E27FC236}">
                <a16:creationId xmlns:a16="http://schemas.microsoft.com/office/drawing/2014/main" id="{9F7B2440-10DA-429B-AFBB-E62E211FE426}"/>
              </a:ext>
            </a:extLst>
          </p:cNvPr>
          <p:cNvSpPr/>
          <p:nvPr/>
        </p:nvSpPr>
        <p:spPr>
          <a:xfrm>
            <a:off x="282716" y="3802186"/>
            <a:ext cx="11576970" cy="402959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26" name="文本框 225">
            <a:extLst>
              <a:ext uri="{FF2B5EF4-FFF2-40B4-BE49-F238E27FC236}">
                <a16:creationId xmlns:a16="http://schemas.microsoft.com/office/drawing/2014/main" id="{FB913E0B-D7C9-4515-8D64-5F918A813CC5}"/>
              </a:ext>
            </a:extLst>
          </p:cNvPr>
          <p:cNvSpPr txBox="1"/>
          <p:nvPr/>
        </p:nvSpPr>
        <p:spPr>
          <a:xfrm>
            <a:off x="263319" y="22023585"/>
            <a:ext cx="26468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>
                <a:latin typeface="Arial" pitchFamily="34" charset="0"/>
                <a:cs typeface="Arial" pitchFamily="34" charset="0"/>
              </a:rPr>
              <a:t>EE</a:t>
            </a:r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分析报告</a:t>
            </a:r>
          </a:p>
        </p:txBody>
      </p:sp>
      <p:sp>
        <p:nvSpPr>
          <p:cNvPr id="227" name="矩形 226">
            <a:extLst>
              <a:ext uri="{FF2B5EF4-FFF2-40B4-BE49-F238E27FC236}">
                <a16:creationId xmlns:a16="http://schemas.microsoft.com/office/drawing/2014/main" id="{BDF81C4D-0194-40C0-869C-233F3E25E3A3}"/>
              </a:ext>
            </a:extLst>
          </p:cNvPr>
          <p:cNvSpPr/>
          <p:nvPr/>
        </p:nvSpPr>
        <p:spPr>
          <a:xfrm>
            <a:off x="266154" y="22658984"/>
            <a:ext cx="11746523" cy="270479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28" name="文本框 227">
            <a:extLst>
              <a:ext uri="{FF2B5EF4-FFF2-40B4-BE49-F238E27FC236}">
                <a16:creationId xmlns:a16="http://schemas.microsoft.com/office/drawing/2014/main" id="{37EC5D26-DA7C-4F7D-AA27-988D97601A74}"/>
              </a:ext>
            </a:extLst>
          </p:cNvPr>
          <p:cNvSpPr txBox="1"/>
          <p:nvPr/>
        </p:nvSpPr>
        <p:spPr>
          <a:xfrm>
            <a:off x="584108" y="22824431"/>
            <a:ext cx="3465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分析结论： </a:t>
            </a:r>
            <a:r>
              <a:rPr lang="en-US" altLang="zh-CN" sz="1800" dirty="0">
                <a:latin typeface="Arial" pitchFamily="34" charset="0"/>
                <a:cs typeface="Arial" pitchFamily="34" charset="0"/>
              </a:rPr>
              <a:t>XXX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主板问题</a:t>
            </a:r>
          </a:p>
        </p:txBody>
      </p:sp>
      <p:sp>
        <p:nvSpPr>
          <p:cNvPr id="229" name="文本框 228">
            <a:extLst>
              <a:ext uri="{FF2B5EF4-FFF2-40B4-BE49-F238E27FC236}">
                <a16:creationId xmlns:a16="http://schemas.microsoft.com/office/drawing/2014/main" id="{4B5C4135-D02B-4FCB-8512-4559F10280D8}"/>
              </a:ext>
            </a:extLst>
          </p:cNvPr>
          <p:cNvSpPr txBox="1"/>
          <p:nvPr/>
        </p:nvSpPr>
        <p:spPr>
          <a:xfrm>
            <a:off x="625303" y="23339536"/>
            <a:ext cx="34655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分析步骤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30" name="矩形 229">
            <a:extLst>
              <a:ext uri="{FF2B5EF4-FFF2-40B4-BE49-F238E27FC236}">
                <a16:creationId xmlns:a16="http://schemas.microsoft.com/office/drawing/2014/main" id="{E0538ADE-53E8-4E05-B99F-D9E6861D26AF}"/>
              </a:ext>
            </a:extLst>
          </p:cNvPr>
          <p:cNvSpPr/>
          <p:nvPr/>
        </p:nvSpPr>
        <p:spPr>
          <a:xfrm>
            <a:off x="10214054" y="24653482"/>
            <a:ext cx="1736203" cy="6163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32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231" name="椭圆 230">
            <a:extLst>
              <a:ext uri="{FF2B5EF4-FFF2-40B4-BE49-F238E27FC236}">
                <a16:creationId xmlns:a16="http://schemas.microsoft.com/office/drawing/2014/main" id="{DDBA023C-B252-44E5-9063-5D1C0DFE8777}"/>
              </a:ext>
            </a:extLst>
          </p:cNvPr>
          <p:cNvSpPr/>
          <p:nvPr/>
        </p:nvSpPr>
        <p:spPr>
          <a:xfrm>
            <a:off x="11711705" y="22684548"/>
            <a:ext cx="288000" cy="288000"/>
          </a:xfrm>
          <a:prstGeom prst="ellipse">
            <a:avLst/>
          </a:prstGeom>
          <a:solidFill>
            <a:srgbClr val="6F71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32" name="文本框 231">
            <a:extLst>
              <a:ext uri="{FF2B5EF4-FFF2-40B4-BE49-F238E27FC236}">
                <a16:creationId xmlns:a16="http://schemas.microsoft.com/office/drawing/2014/main" id="{62FFCA03-4261-48EE-BA0E-EF9BD0FAE90A}"/>
              </a:ext>
            </a:extLst>
          </p:cNvPr>
          <p:cNvSpPr txBox="1"/>
          <p:nvPr/>
        </p:nvSpPr>
        <p:spPr>
          <a:xfrm>
            <a:off x="11685230" y="22586210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×</a:t>
            </a:r>
            <a:endParaRPr lang="zh-CN" altLang="en-US" sz="240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3" name="矩形 232">
            <a:extLst>
              <a:ext uri="{FF2B5EF4-FFF2-40B4-BE49-F238E27FC236}">
                <a16:creationId xmlns:a16="http://schemas.microsoft.com/office/drawing/2014/main" id="{68819A73-1EF3-42A3-ACEB-9C1846C51E1A}"/>
              </a:ext>
            </a:extLst>
          </p:cNvPr>
          <p:cNvSpPr/>
          <p:nvPr/>
        </p:nvSpPr>
        <p:spPr>
          <a:xfrm>
            <a:off x="625303" y="24570127"/>
            <a:ext cx="2058294" cy="6163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3200" b="1" dirty="0">
                <a:solidFill>
                  <a:schemeClr val="tx1"/>
                </a:solidFill>
              </a:rPr>
              <a:t>报告上传</a:t>
            </a:r>
          </a:p>
        </p:txBody>
      </p:sp>
      <p:sp>
        <p:nvSpPr>
          <p:cNvPr id="235" name="文本框 250">
            <a:extLst>
              <a:ext uri="{FF2B5EF4-FFF2-40B4-BE49-F238E27FC236}">
                <a16:creationId xmlns:a16="http://schemas.microsoft.com/office/drawing/2014/main" id="{971D5063-AE2C-4ECB-A59C-7C87EF8BBCBF}"/>
              </a:ext>
            </a:extLst>
          </p:cNvPr>
          <p:cNvSpPr txBox="1"/>
          <p:nvPr/>
        </p:nvSpPr>
        <p:spPr>
          <a:xfrm>
            <a:off x="322045" y="27716822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物料</a:t>
            </a:r>
            <a:r>
              <a:rPr lang="en-US" altLang="zh-CN" sz="1800" dirty="0">
                <a:latin typeface="Arial" pitchFamily="34" charset="0"/>
                <a:cs typeface="Arial" pitchFamily="34" charset="0"/>
              </a:rPr>
              <a:t>1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  <a:r>
              <a:rPr lang="en-US" altLang="zh-CN" sz="1800" dirty="0" err="1">
                <a:latin typeface="Arial" pitchFamily="34" charset="0"/>
                <a:cs typeface="Arial" pitchFamily="34" charset="0"/>
              </a:rPr>
              <a:t>Feykul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36" name="矩形 235">
            <a:extLst>
              <a:ext uri="{FF2B5EF4-FFF2-40B4-BE49-F238E27FC236}">
                <a16:creationId xmlns:a16="http://schemas.microsoft.com/office/drawing/2014/main" id="{CB41D5A3-697C-4EDD-BA12-16AA4134783C}"/>
              </a:ext>
            </a:extLst>
          </p:cNvPr>
          <p:cNvSpPr/>
          <p:nvPr/>
        </p:nvSpPr>
        <p:spPr>
          <a:xfrm>
            <a:off x="267923" y="26074954"/>
            <a:ext cx="11746523" cy="144199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37" name="文本框 252">
            <a:extLst>
              <a:ext uri="{FF2B5EF4-FFF2-40B4-BE49-F238E27FC236}">
                <a16:creationId xmlns:a16="http://schemas.microsoft.com/office/drawing/2014/main" id="{AED39E97-C7FD-4538-914F-1559E4B6B7A8}"/>
              </a:ext>
            </a:extLst>
          </p:cNvPr>
          <p:cNvSpPr txBox="1"/>
          <p:nvPr/>
        </p:nvSpPr>
        <p:spPr>
          <a:xfrm>
            <a:off x="289314" y="25431036"/>
            <a:ext cx="30059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物料信息排查</a:t>
            </a:r>
          </a:p>
        </p:txBody>
      </p:sp>
      <p:sp>
        <p:nvSpPr>
          <p:cNvPr id="238" name="矩形 237">
            <a:extLst>
              <a:ext uri="{FF2B5EF4-FFF2-40B4-BE49-F238E27FC236}">
                <a16:creationId xmlns:a16="http://schemas.microsoft.com/office/drawing/2014/main" id="{A68CF110-82C4-4D17-BE86-E2A4DD46564A}"/>
              </a:ext>
            </a:extLst>
          </p:cNvPr>
          <p:cNvSpPr/>
          <p:nvPr/>
        </p:nvSpPr>
        <p:spPr>
          <a:xfrm>
            <a:off x="670659" y="26361646"/>
            <a:ext cx="1922039" cy="86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物料</a:t>
            </a:r>
            <a:r>
              <a:rPr lang="en-US" altLang="zh-CN" sz="2800" b="1" dirty="0">
                <a:solidFill>
                  <a:schemeClr val="tx1"/>
                </a:solidFill>
              </a:rPr>
              <a:t>1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239" name="矩形 238">
            <a:extLst>
              <a:ext uri="{FF2B5EF4-FFF2-40B4-BE49-F238E27FC236}">
                <a16:creationId xmlns:a16="http://schemas.microsoft.com/office/drawing/2014/main" id="{2F361AAF-E278-4591-8665-F5976B5528A3}"/>
              </a:ext>
            </a:extLst>
          </p:cNvPr>
          <p:cNvSpPr/>
          <p:nvPr/>
        </p:nvSpPr>
        <p:spPr>
          <a:xfrm>
            <a:off x="3482176" y="26361646"/>
            <a:ext cx="1922039" cy="86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物料</a:t>
            </a:r>
            <a:r>
              <a:rPr lang="en-US" altLang="zh-CN" sz="2800" b="1" dirty="0">
                <a:solidFill>
                  <a:schemeClr val="tx1"/>
                </a:solidFill>
              </a:rPr>
              <a:t>2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240" name="矩形 239">
            <a:extLst>
              <a:ext uri="{FF2B5EF4-FFF2-40B4-BE49-F238E27FC236}">
                <a16:creationId xmlns:a16="http://schemas.microsoft.com/office/drawing/2014/main" id="{6748215D-6A25-43AC-B76A-50BEDD4CF51C}"/>
              </a:ext>
            </a:extLst>
          </p:cNvPr>
          <p:cNvSpPr/>
          <p:nvPr/>
        </p:nvSpPr>
        <p:spPr>
          <a:xfrm>
            <a:off x="6293693" y="26361646"/>
            <a:ext cx="1922039" cy="86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物料</a:t>
            </a:r>
            <a:r>
              <a:rPr lang="en-US" altLang="zh-CN" sz="2800" b="1" dirty="0">
                <a:solidFill>
                  <a:schemeClr val="tx1"/>
                </a:solidFill>
              </a:rPr>
              <a:t>3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grpSp>
        <p:nvGrpSpPr>
          <p:cNvPr id="241" name="组合 240">
            <a:extLst>
              <a:ext uri="{FF2B5EF4-FFF2-40B4-BE49-F238E27FC236}">
                <a16:creationId xmlns:a16="http://schemas.microsoft.com/office/drawing/2014/main" id="{0F6A55F3-C48C-43A7-98F7-86AC833AA64F}"/>
              </a:ext>
            </a:extLst>
          </p:cNvPr>
          <p:cNvGrpSpPr/>
          <p:nvPr/>
        </p:nvGrpSpPr>
        <p:grpSpPr>
          <a:xfrm>
            <a:off x="11645749" y="26005559"/>
            <a:ext cx="364202" cy="461665"/>
            <a:chOff x="12153899" y="17078314"/>
            <a:chExt cx="364202" cy="461665"/>
          </a:xfrm>
        </p:grpSpPr>
        <p:sp>
          <p:nvSpPr>
            <p:cNvPr id="242" name="椭圆 241">
              <a:extLst>
                <a:ext uri="{FF2B5EF4-FFF2-40B4-BE49-F238E27FC236}">
                  <a16:creationId xmlns:a16="http://schemas.microsoft.com/office/drawing/2014/main" id="{151407A6-ACD3-423C-81CD-3463529F73D6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243" name="文本框 259">
              <a:extLst>
                <a:ext uri="{FF2B5EF4-FFF2-40B4-BE49-F238E27FC236}">
                  <a16:creationId xmlns:a16="http://schemas.microsoft.com/office/drawing/2014/main" id="{2F6C0B40-1105-4368-904B-D98B07420B60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44" name="矩形 243">
            <a:extLst>
              <a:ext uri="{FF2B5EF4-FFF2-40B4-BE49-F238E27FC236}">
                <a16:creationId xmlns:a16="http://schemas.microsoft.com/office/drawing/2014/main" id="{FF9C855E-239D-4534-A312-85894BBC9EB1}"/>
              </a:ext>
            </a:extLst>
          </p:cNvPr>
          <p:cNvSpPr/>
          <p:nvPr/>
        </p:nvSpPr>
        <p:spPr>
          <a:xfrm>
            <a:off x="260498" y="27651588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45" name="矩形 244">
            <a:extLst>
              <a:ext uri="{FF2B5EF4-FFF2-40B4-BE49-F238E27FC236}">
                <a16:creationId xmlns:a16="http://schemas.microsoft.com/office/drawing/2014/main" id="{E0493159-2CC1-48D7-81F9-A9182041339A}"/>
              </a:ext>
            </a:extLst>
          </p:cNvPr>
          <p:cNvSpPr/>
          <p:nvPr/>
        </p:nvSpPr>
        <p:spPr>
          <a:xfrm>
            <a:off x="3241561" y="27651588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46" name="矩形 245">
            <a:extLst>
              <a:ext uri="{FF2B5EF4-FFF2-40B4-BE49-F238E27FC236}">
                <a16:creationId xmlns:a16="http://schemas.microsoft.com/office/drawing/2014/main" id="{019D44BC-139C-492B-95C4-109E5690FA5C}"/>
              </a:ext>
            </a:extLst>
          </p:cNvPr>
          <p:cNvSpPr/>
          <p:nvPr/>
        </p:nvSpPr>
        <p:spPr>
          <a:xfrm>
            <a:off x="6181247" y="27651588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247" name="矩形 246">
            <a:extLst>
              <a:ext uri="{FF2B5EF4-FFF2-40B4-BE49-F238E27FC236}">
                <a16:creationId xmlns:a16="http://schemas.microsoft.com/office/drawing/2014/main" id="{A1C806F3-62A2-4953-81E0-8D048FC6B5B4}"/>
              </a:ext>
            </a:extLst>
          </p:cNvPr>
          <p:cNvSpPr/>
          <p:nvPr/>
        </p:nvSpPr>
        <p:spPr>
          <a:xfrm>
            <a:off x="9146433" y="27651588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grpSp>
        <p:nvGrpSpPr>
          <p:cNvPr id="248" name="组合 247">
            <a:extLst>
              <a:ext uri="{FF2B5EF4-FFF2-40B4-BE49-F238E27FC236}">
                <a16:creationId xmlns:a16="http://schemas.microsoft.com/office/drawing/2014/main" id="{78004645-4196-4100-963A-BE9ED6A6615F}"/>
              </a:ext>
            </a:extLst>
          </p:cNvPr>
          <p:cNvGrpSpPr/>
          <p:nvPr/>
        </p:nvGrpSpPr>
        <p:grpSpPr>
          <a:xfrm>
            <a:off x="11645749" y="27612737"/>
            <a:ext cx="364202" cy="461665"/>
            <a:chOff x="12153899" y="17078314"/>
            <a:chExt cx="364202" cy="461665"/>
          </a:xfrm>
        </p:grpSpPr>
        <p:sp>
          <p:nvSpPr>
            <p:cNvPr id="249" name="椭圆 248">
              <a:extLst>
                <a:ext uri="{FF2B5EF4-FFF2-40B4-BE49-F238E27FC236}">
                  <a16:creationId xmlns:a16="http://schemas.microsoft.com/office/drawing/2014/main" id="{CA14EE9D-5AA6-464F-8184-A54DF46FB400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250" name="文本框 266">
              <a:extLst>
                <a:ext uri="{FF2B5EF4-FFF2-40B4-BE49-F238E27FC236}">
                  <a16:creationId xmlns:a16="http://schemas.microsoft.com/office/drawing/2014/main" id="{A6F0D975-2C24-4711-86DA-99F682C32747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54" name="组合 253">
            <a:extLst>
              <a:ext uri="{FF2B5EF4-FFF2-40B4-BE49-F238E27FC236}">
                <a16:creationId xmlns:a16="http://schemas.microsoft.com/office/drawing/2014/main" id="{C9B4B5B7-65CF-492F-96E6-CE638F7A4359}"/>
              </a:ext>
            </a:extLst>
          </p:cNvPr>
          <p:cNvGrpSpPr/>
          <p:nvPr/>
        </p:nvGrpSpPr>
        <p:grpSpPr>
          <a:xfrm>
            <a:off x="8652698" y="27589125"/>
            <a:ext cx="364202" cy="461665"/>
            <a:chOff x="12153899" y="17078314"/>
            <a:chExt cx="364202" cy="461665"/>
          </a:xfrm>
        </p:grpSpPr>
        <p:sp>
          <p:nvSpPr>
            <p:cNvPr id="289" name="椭圆 288">
              <a:extLst>
                <a:ext uri="{FF2B5EF4-FFF2-40B4-BE49-F238E27FC236}">
                  <a16:creationId xmlns:a16="http://schemas.microsoft.com/office/drawing/2014/main" id="{39C65FEB-5821-4974-A587-7833F7178848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290" name="文本框 269">
              <a:extLst>
                <a:ext uri="{FF2B5EF4-FFF2-40B4-BE49-F238E27FC236}">
                  <a16:creationId xmlns:a16="http://schemas.microsoft.com/office/drawing/2014/main" id="{AFBF4E31-2544-4EF8-8DF1-D0DD781E8221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91" name="组合 290">
            <a:extLst>
              <a:ext uri="{FF2B5EF4-FFF2-40B4-BE49-F238E27FC236}">
                <a16:creationId xmlns:a16="http://schemas.microsoft.com/office/drawing/2014/main" id="{79B2A1AE-9B18-4AAE-949E-8FEEB6B7A9C9}"/>
              </a:ext>
            </a:extLst>
          </p:cNvPr>
          <p:cNvGrpSpPr/>
          <p:nvPr/>
        </p:nvGrpSpPr>
        <p:grpSpPr>
          <a:xfrm>
            <a:off x="5733423" y="27576194"/>
            <a:ext cx="364202" cy="461665"/>
            <a:chOff x="12153899" y="17078314"/>
            <a:chExt cx="364202" cy="461665"/>
          </a:xfrm>
        </p:grpSpPr>
        <p:sp>
          <p:nvSpPr>
            <p:cNvPr id="292" name="椭圆 291">
              <a:extLst>
                <a:ext uri="{FF2B5EF4-FFF2-40B4-BE49-F238E27FC236}">
                  <a16:creationId xmlns:a16="http://schemas.microsoft.com/office/drawing/2014/main" id="{D8781B20-4CC0-4B49-A344-AEDD1D2E5FC0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293" name="文本框 109">
              <a:extLst>
                <a:ext uri="{FF2B5EF4-FFF2-40B4-BE49-F238E27FC236}">
                  <a16:creationId xmlns:a16="http://schemas.microsoft.com/office/drawing/2014/main" id="{2A7F7DEC-5E4C-4FDB-81E3-2B2A844EA72E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94" name="组合 293">
            <a:extLst>
              <a:ext uri="{FF2B5EF4-FFF2-40B4-BE49-F238E27FC236}">
                <a16:creationId xmlns:a16="http://schemas.microsoft.com/office/drawing/2014/main" id="{7E3B7348-9D33-4E88-83A3-5D1C450BDBCB}"/>
              </a:ext>
            </a:extLst>
          </p:cNvPr>
          <p:cNvGrpSpPr/>
          <p:nvPr/>
        </p:nvGrpSpPr>
        <p:grpSpPr>
          <a:xfrm>
            <a:off x="2778473" y="27576193"/>
            <a:ext cx="364202" cy="461665"/>
            <a:chOff x="12153899" y="17078314"/>
            <a:chExt cx="364202" cy="461665"/>
          </a:xfrm>
        </p:grpSpPr>
        <p:sp>
          <p:nvSpPr>
            <p:cNvPr id="295" name="椭圆 294">
              <a:extLst>
                <a:ext uri="{FF2B5EF4-FFF2-40B4-BE49-F238E27FC236}">
                  <a16:creationId xmlns:a16="http://schemas.microsoft.com/office/drawing/2014/main" id="{DB387EFA-40A2-44CB-8274-41910AAA30A3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296" name="文本框 109">
              <a:extLst>
                <a:ext uri="{FF2B5EF4-FFF2-40B4-BE49-F238E27FC236}">
                  <a16:creationId xmlns:a16="http://schemas.microsoft.com/office/drawing/2014/main" id="{C71EB9DB-433F-4407-8EE7-06DE1279360B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97" name="矩形 296">
            <a:extLst>
              <a:ext uri="{FF2B5EF4-FFF2-40B4-BE49-F238E27FC236}">
                <a16:creationId xmlns:a16="http://schemas.microsoft.com/office/drawing/2014/main" id="{02D7E546-5F14-4330-B24C-22A384553C91}"/>
              </a:ext>
            </a:extLst>
          </p:cNvPr>
          <p:cNvSpPr/>
          <p:nvPr/>
        </p:nvSpPr>
        <p:spPr>
          <a:xfrm>
            <a:off x="10791439" y="29523175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298" name="矩形 297">
            <a:extLst>
              <a:ext uri="{FF2B5EF4-FFF2-40B4-BE49-F238E27FC236}">
                <a16:creationId xmlns:a16="http://schemas.microsoft.com/office/drawing/2014/main" id="{D5FF3FDA-E3A5-47CD-BA90-F0778309119D}"/>
              </a:ext>
            </a:extLst>
          </p:cNvPr>
          <p:cNvSpPr/>
          <p:nvPr/>
        </p:nvSpPr>
        <p:spPr>
          <a:xfrm>
            <a:off x="7834610" y="29523175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299" name="矩形 298">
            <a:extLst>
              <a:ext uri="{FF2B5EF4-FFF2-40B4-BE49-F238E27FC236}">
                <a16:creationId xmlns:a16="http://schemas.microsoft.com/office/drawing/2014/main" id="{A0A7F3DA-6825-40B1-A347-813C984A596C}"/>
              </a:ext>
            </a:extLst>
          </p:cNvPr>
          <p:cNvSpPr/>
          <p:nvPr/>
        </p:nvSpPr>
        <p:spPr>
          <a:xfrm>
            <a:off x="4907558" y="29523175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00" name="矩形 299">
            <a:extLst>
              <a:ext uri="{FF2B5EF4-FFF2-40B4-BE49-F238E27FC236}">
                <a16:creationId xmlns:a16="http://schemas.microsoft.com/office/drawing/2014/main" id="{755BBD82-1ADB-46E5-BCBB-46B98F03D62E}"/>
              </a:ext>
            </a:extLst>
          </p:cNvPr>
          <p:cNvSpPr/>
          <p:nvPr/>
        </p:nvSpPr>
        <p:spPr>
          <a:xfrm>
            <a:off x="1898019" y="29523175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01" name="矩形 300">
            <a:extLst>
              <a:ext uri="{FF2B5EF4-FFF2-40B4-BE49-F238E27FC236}">
                <a16:creationId xmlns:a16="http://schemas.microsoft.com/office/drawing/2014/main" id="{A75EF349-A209-47AB-A1E5-88FEE604B85E}"/>
              </a:ext>
            </a:extLst>
          </p:cNvPr>
          <p:cNvSpPr/>
          <p:nvPr/>
        </p:nvSpPr>
        <p:spPr>
          <a:xfrm>
            <a:off x="297476" y="29523176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02" name="矩形 301">
            <a:extLst>
              <a:ext uri="{FF2B5EF4-FFF2-40B4-BE49-F238E27FC236}">
                <a16:creationId xmlns:a16="http://schemas.microsoft.com/office/drawing/2014/main" id="{44CA62DC-ABAC-40AB-96A2-968FFCA0AD90}"/>
              </a:ext>
            </a:extLst>
          </p:cNvPr>
          <p:cNvSpPr/>
          <p:nvPr/>
        </p:nvSpPr>
        <p:spPr>
          <a:xfrm>
            <a:off x="3324819" y="29523175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03" name="矩形 302">
            <a:extLst>
              <a:ext uri="{FF2B5EF4-FFF2-40B4-BE49-F238E27FC236}">
                <a16:creationId xmlns:a16="http://schemas.microsoft.com/office/drawing/2014/main" id="{B468C5F7-2276-40B0-8E2B-9994BDBF5229}"/>
              </a:ext>
            </a:extLst>
          </p:cNvPr>
          <p:cNvSpPr/>
          <p:nvPr/>
        </p:nvSpPr>
        <p:spPr>
          <a:xfrm>
            <a:off x="6266158" y="29523174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04" name="矩形 303">
            <a:extLst>
              <a:ext uri="{FF2B5EF4-FFF2-40B4-BE49-F238E27FC236}">
                <a16:creationId xmlns:a16="http://schemas.microsoft.com/office/drawing/2014/main" id="{57D9D52F-9533-4367-9629-347441E99BCF}"/>
              </a:ext>
            </a:extLst>
          </p:cNvPr>
          <p:cNvSpPr/>
          <p:nvPr/>
        </p:nvSpPr>
        <p:spPr>
          <a:xfrm>
            <a:off x="9199494" y="29523173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05" name="文本框 284">
            <a:extLst>
              <a:ext uri="{FF2B5EF4-FFF2-40B4-BE49-F238E27FC236}">
                <a16:creationId xmlns:a16="http://schemas.microsoft.com/office/drawing/2014/main" id="{9D05703F-1B51-41A1-86AE-B15B6021299C}"/>
              </a:ext>
            </a:extLst>
          </p:cNvPr>
          <p:cNvSpPr txBox="1"/>
          <p:nvPr/>
        </p:nvSpPr>
        <p:spPr>
          <a:xfrm>
            <a:off x="3388057" y="27699570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物料</a:t>
            </a:r>
            <a:r>
              <a:rPr lang="en-US" altLang="zh-CN" sz="1800" dirty="0">
                <a:latin typeface="Arial" pitchFamily="34" charset="0"/>
                <a:cs typeface="Arial" pitchFamily="34" charset="0"/>
              </a:rPr>
              <a:t>2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06" name="文本框 285">
            <a:extLst>
              <a:ext uri="{FF2B5EF4-FFF2-40B4-BE49-F238E27FC236}">
                <a16:creationId xmlns:a16="http://schemas.microsoft.com/office/drawing/2014/main" id="{0DF041FC-0214-413F-AC25-D2D3B65C2812}"/>
              </a:ext>
            </a:extLst>
          </p:cNvPr>
          <p:cNvSpPr txBox="1"/>
          <p:nvPr/>
        </p:nvSpPr>
        <p:spPr>
          <a:xfrm>
            <a:off x="6234931" y="27716822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物料</a:t>
            </a:r>
            <a:r>
              <a:rPr lang="en-US" altLang="zh-CN" sz="1800" dirty="0">
                <a:latin typeface="Arial" pitchFamily="34" charset="0"/>
                <a:cs typeface="Arial" pitchFamily="34" charset="0"/>
              </a:rPr>
              <a:t>3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07" name="文本框 286">
            <a:extLst>
              <a:ext uri="{FF2B5EF4-FFF2-40B4-BE49-F238E27FC236}">
                <a16:creationId xmlns:a16="http://schemas.microsoft.com/office/drawing/2014/main" id="{79CBE7FD-0B8C-48FC-8C9F-F1C02FC7E084}"/>
              </a:ext>
            </a:extLst>
          </p:cNvPr>
          <p:cNvSpPr txBox="1"/>
          <p:nvPr/>
        </p:nvSpPr>
        <p:spPr>
          <a:xfrm>
            <a:off x="9208763" y="27694574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物料</a:t>
            </a:r>
            <a:r>
              <a:rPr lang="en-US" altLang="zh-CN" sz="1800" dirty="0">
                <a:latin typeface="Arial" pitchFamily="34" charset="0"/>
                <a:cs typeface="Arial" pitchFamily="34" charset="0"/>
              </a:rPr>
              <a:t>4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08" name="矩形 307">
            <a:extLst>
              <a:ext uri="{FF2B5EF4-FFF2-40B4-BE49-F238E27FC236}">
                <a16:creationId xmlns:a16="http://schemas.microsoft.com/office/drawing/2014/main" id="{7236F7DA-26A5-43DA-9686-06854EB24744}"/>
              </a:ext>
            </a:extLst>
          </p:cNvPr>
          <p:cNvSpPr/>
          <p:nvPr/>
        </p:nvSpPr>
        <p:spPr>
          <a:xfrm>
            <a:off x="9105210" y="26382052"/>
            <a:ext cx="1922039" cy="86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933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物料</a:t>
            </a:r>
            <a:r>
              <a:rPr lang="en-US" altLang="zh-CN" sz="2800" b="1" dirty="0">
                <a:solidFill>
                  <a:schemeClr val="tx1"/>
                </a:solidFill>
              </a:rPr>
              <a:t>4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309" name="文本框 308">
            <a:extLst>
              <a:ext uri="{FF2B5EF4-FFF2-40B4-BE49-F238E27FC236}">
                <a16:creationId xmlns:a16="http://schemas.microsoft.com/office/drawing/2014/main" id="{F7F8D15D-9006-4884-9E3B-A6084B24644E}"/>
              </a:ext>
            </a:extLst>
          </p:cNvPr>
          <p:cNvSpPr txBox="1"/>
          <p:nvPr/>
        </p:nvSpPr>
        <p:spPr>
          <a:xfrm>
            <a:off x="315447" y="39691169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人员排查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10" name="矩形 309">
            <a:extLst>
              <a:ext uri="{FF2B5EF4-FFF2-40B4-BE49-F238E27FC236}">
                <a16:creationId xmlns:a16="http://schemas.microsoft.com/office/drawing/2014/main" id="{4AC07260-6A47-41E5-BD7C-8FFEDBAD4941}"/>
              </a:ext>
            </a:extLst>
          </p:cNvPr>
          <p:cNvSpPr/>
          <p:nvPr/>
        </p:nvSpPr>
        <p:spPr>
          <a:xfrm>
            <a:off x="261325" y="36845547"/>
            <a:ext cx="11746523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311" name="文本框 310">
            <a:extLst>
              <a:ext uri="{FF2B5EF4-FFF2-40B4-BE49-F238E27FC236}">
                <a16:creationId xmlns:a16="http://schemas.microsoft.com/office/drawing/2014/main" id="{6B0C886D-C83A-45E7-B3FE-DA5389C45675}"/>
              </a:ext>
            </a:extLst>
          </p:cNvPr>
          <p:cNvSpPr txBox="1"/>
          <p:nvPr/>
        </p:nvSpPr>
        <p:spPr>
          <a:xfrm>
            <a:off x="282716" y="36201629"/>
            <a:ext cx="29546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组装信息排查</a:t>
            </a:r>
          </a:p>
        </p:txBody>
      </p:sp>
      <p:sp>
        <p:nvSpPr>
          <p:cNvPr id="312" name="矩形 311">
            <a:extLst>
              <a:ext uri="{FF2B5EF4-FFF2-40B4-BE49-F238E27FC236}">
                <a16:creationId xmlns:a16="http://schemas.microsoft.com/office/drawing/2014/main" id="{4AFBA5C9-AC7F-4054-9150-9C372AFD16E5}"/>
              </a:ext>
            </a:extLst>
          </p:cNvPr>
          <p:cNvSpPr/>
          <p:nvPr/>
        </p:nvSpPr>
        <p:spPr>
          <a:xfrm>
            <a:off x="6515882" y="38366312"/>
            <a:ext cx="2963007" cy="8439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环</a:t>
            </a:r>
          </a:p>
        </p:txBody>
      </p:sp>
      <p:sp>
        <p:nvSpPr>
          <p:cNvPr id="313" name="矩形 312">
            <a:extLst>
              <a:ext uri="{FF2B5EF4-FFF2-40B4-BE49-F238E27FC236}">
                <a16:creationId xmlns:a16="http://schemas.microsoft.com/office/drawing/2014/main" id="{A2DEEC9B-F382-4344-ABC9-9DBB7B37CA96}"/>
              </a:ext>
            </a:extLst>
          </p:cNvPr>
          <p:cNvSpPr/>
          <p:nvPr/>
        </p:nvSpPr>
        <p:spPr>
          <a:xfrm>
            <a:off x="2002521" y="37079131"/>
            <a:ext cx="2963007" cy="998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人</a:t>
            </a:r>
          </a:p>
        </p:txBody>
      </p:sp>
      <p:sp>
        <p:nvSpPr>
          <p:cNvPr id="314" name="矩形 313">
            <a:extLst>
              <a:ext uri="{FF2B5EF4-FFF2-40B4-BE49-F238E27FC236}">
                <a16:creationId xmlns:a16="http://schemas.microsoft.com/office/drawing/2014/main" id="{D063C6EC-A540-440E-9797-BD4946ADFFD2}"/>
              </a:ext>
            </a:extLst>
          </p:cNvPr>
          <p:cNvSpPr/>
          <p:nvPr/>
        </p:nvSpPr>
        <p:spPr>
          <a:xfrm>
            <a:off x="6515883" y="37079133"/>
            <a:ext cx="2963007" cy="9271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机</a:t>
            </a:r>
          </a:p>
        </p:txBody>
      </p:sp>
      <p:sp>
        <p:nvSpPr>
          <p:cNvPr id="315" name="矩形 314">
            <a:extLst>
              <a:ext uri="{FF2B5EF4-FFF2-40B4-BE49-F238E27FC236}">
                <a16:creationId xmlns:a16="http://schemas.microsoft.com/office/drawing/2014/main" id="{F02EA34B-0490-4F19-BAD2-1EB670594E39}"/>
              </a:ext>
            </a:extLst>
          </p:cNvPr>
          <p:cNvSpPr/>
          <p:nvPr/>
        </p:nvSpPr>
        <p:spPr>
          <a:xfrm>
            <a:off x="2002521" y="38366312"/>
            <a:ext cx="2963007" cy="8439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法</a:t>
            </a:r>
          </a:p>
        </p:txBody>
      </p:sp>
      <p:grpSp>
        <p:nvGrpSpPr>
          <p:cNvPr id="316" name="组合 315">
            <a:extLst>
              <a:ext uri="{FF2B5EF4-FFF2-40B4-BE49-F238E27FC236}">
                <a16:creationId xmlns:a16="http://schemas.microsoft.com/office/drawing/2014/main" id="{85548616-076E-47D2-9C0E-4F515FE93803}"/>
              </a:ext>
            </a:extLst>
          </p:cNvPr>
          <p:cNvGrpSpPr/>
          <p:nvPr/>
        </p:nvGrpSpPr>
        <p:grpSpPr>
          <a:xfrm>
            <a:off x="11639151" y="36776152"/>
            <a:ext cx="364202" cy="461665"/>
            <a:chOff x="12153899" y="17078314"/>
            <a:chExt cx="364202" cy="461665"/>
          </a:xfrm>
        </p:grpSpPr>
        <p:sp>
          <p:nvSpPr>
            <p:cNvPr id="317" name="椭圆 316">
              <a:extLst>
                <a:ext uri="{FF2B5EF4-FFF2-40B4-BE49-F238E27FC236}">
                  <a16:creationId xmlns:a16="http://schemas.microsoft.com/office/drawing/2014/main" id="{C8DAA577-CE26-45AA-BCB3-735D6674B295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18" name="文本框 317">
              <a:extLst>
                <a:ext uri="{FF2B5EF4-FFF2-40B4-BE49-F238E27FC236}">
                  <a16:creationId xmlns:a16="http://schemas.microsoft.com/office/drawing/2014/main" id="{3187EF3F-72CF-43AB-B797-769B5663E573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19" name="矩形 318">
            <a:extLst>
              <a:ext uri="{FF2B5EF4-FFF2-40B4-BE49-F238E27FC236}">
                <a16:creationId xmlns:a16="http://schemas.microsoft.com/office/drawing/2014/main" id="{678CEF7C-5849-4E73-B3AA-13DB9C6D3FB0}"/>
              </a:ext>
            </a:extLst>
          </p:cNvPr>
          <p:cNvSpPr/>
          <p:nvPr/>
        </p:nvSpPr>
        <p:spPr>
          <a:xfrm>
            <a:off x="253900" y="3962593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320" name="矩形 319">
            <a:extLst>
              <a:ext uri="{FF2B5EF4-FFF2-40B4-BE49-F238E27FC236}">
                <a16:creationId xmlns:a16="http://schemas.microsoft.com/office/drawing/2014/main" id="{715B565D-A340-43DB-9951-AF8A44F196E9}"/>
              </a:ext>
            </a:extLst>
          </p:cNvPr>
          <p:cNvSpPr/>
          <p:nvPr/>
        </p:nvSpPr>
        <p:spPr>
          <a:xfrm>
            <a:off x="3234963" y="3962593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321" name="矩形 320">
            <a:extLst>
              <a:ext uri="{FF2B5EF4-FFF2-40B4-BE49-F238E27FC236}">
                <a16:creationId xmlns:a16="http://schemas.microsoft.com/office/drawing/2014/main" id="{86A431CD-5A6A-41B8-830C-FCBE4DA5F48C}"/>
              </a:ext>
            </a:extLst>
          </p:cNvPr>
          <p:cNvSpPr/>
          <p:nvPr/>
        </p:nvSpPr>
        <p:spPr>
          <a:xfrm>
            <a:off x="6174649" y="3962593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322" name="矩形 321">
            <a:extLst>
              <a:ext uri="{FF2B5EF4-FFF2-40B4-BE49-F238E27FC236}">
                <a16:creationId xmlns:a16="http://schemas.microsoft.com/office/drawing/2014/main" id="{3C56636C-BEBF-4D13-811A-5A4797779B60}"/>
              </a:ext>
            </a:extLst>
          </p:cNvPr>
          <p:cNvSpPr/>
          <p:nvPr/>
        </p:nvSpPr>
        <p:spPr>
          <a:xfrm>
            <a:off x="9139835" y="3962593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grpSp>
        <p:nvGrpSpPr>
          <p:cNvPr id="323" name="组合 322">
            <a:extLst>
              <a:ext uri="{FF2B5EF4-FFF2-40B4-BE49-F238E27FC236}">
                <a16:creationId xmlns:a16="http://schemas.microsoft.com/office/drawing/2014/main" id="{13F5BB9E-0BBC-4493-B127-964A3BAA080C}"/>
              </a:ext>
            </a:extLst>
          </p:cNvPr>
          <p:cNvGrpSpPr/>
          <p:nvPr/>
        </p:nvGrpSpPr>
        <p:grpSpPr>
          <a:xfrm>
            <a:off x="11639151" y="39587084"/>
            <a:ext cx="364202" cy="461665"/>
            <a:chOff x="12153899" y="17078314"/>
            <a:chExt cx="364202" cy="461665"/>
          </a:xfrm>
        </p:grpSpPr>
        <p:sp>
          <p:nvSpPr>
            <p:cNvPr id="324" name="椭圆 323">
              <a:extLst>
                <a:ext uri="{FF2B5EF4-FFF2-40B4-BE49-F238E27FC236}">
                  <a16:creationId xmlns:a16="http://schemas.microsoft.com/office/drawing/2014/main" id="{A2F243FA-7FBB-431E-A815-0B6F86BC3C35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25" name="文本框 324">
              <a:extLst>
                <a:ext uri="{FF2B5EF4-FFF2-40B4-BE49-F238E27FC236}">
                  <a16:creationId xmlns:a16="http://schemas.microsoft.com/office/drawing/2014/main" id="{F164FD04-E1C4-48C2-B629-70D5F4F17B42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6" name="组合 325">
            <a:extLst>
              <a:ext uri="{FF2B5EF4-FFF2-40B4-BE49-F238E27FC236}">
                <a16:creationId xmlns:a16="http://schemas.microsoft.com/office/drawing/2014/main" id="{9C999B53-6E3C-4239-8959-F36234192F51}"/>
              </a:ext>
            </a:extLst>
          </p:cNvPr>
          <p:cNvGrpSpPr/>
          <p:nvPr/>
        </p:nvGrpSpPr>
        <p:grpSpPr>
          <a:xfrm>
            <a:off x="8646100" y="39563472"/>
            <a:ext cx="364202" cy="461665"/>
            <a:chOff x="12153899" y="17078314"/>
            <a:chExt cx="364202" cy="461665"/>
          </a:xfrm>
        </p:grpSpPr>
        <p:sp>
          <p:nvSpPr>
            <p:cNvPr id="327" name="椭圆 326">
              <a:extLst>
                <a:ext uri="{FF2B5EF4-FFF2-40B4-BE49-F238E27FC236}">
                  <a16:creationId xmlns:a16="http://schemas.microsoft.com/office/drawing/2014/main" id="{AD8AA952-96D3-423B-8E29-BEAA9B909BB5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28" name="文本框 327">
              <a:extLst>
                <a:ext uri="{FF2B5EF4-FFF2-40B4-BE49-F238E27FC236}">
                  <a16:creationId xmlns:a16="http://schemas.microsoft.com/office/drawing/2014/main" id="{52AA29CB-A241-45F3-9177-95AF06BA947A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9" name="组合 328">
            <a:extLst>
              <a:ext uri="{FF2B5EF4-FFF2-40B4-BE49-F238E27FC236}">
                <a16:creationId xmlns:a16="http://schemas.microsoft.com/office/drawing/2014/main" id="{36329795-2A2F-4A8A-A57B-109E41D7DE8B}"/>
              </a:ext>
            </a:extLst>
          </p:cNvPr>
          <p:cNvGrpSpPr/>
          <p:nvPr/>
        </p:nvGrpSpPr>
        <p:grpSpPr>
          <a:xfrm>
            <a:off x="5726825" y="39550541"/>
            <a:ext cx="364202" cy="461665"/>
            <a:chOff x="12153899" y="17078314"/>
            <a:chExt cx="364202" cy="461665"/>
          </a:xfrm>
        </p:grpSpPr>
        <p:sp>
          <p:nvSpPr>
            <p:cNvPr id="330" name="椭圆 329">
              <a:extLst>
                <a:ext uri="{FF2B5EF4-FFF2-40B4-BE49-F238E27FC236}">
                  <a16:creationId xmlns:a16="http://schemas.microsoft.com/office/drawing/2014/main" id="{5E081BA5-1C6D-4F9B-AEB3-4B27B4D3CF4E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31" name="文本框 109">
              <a:extLst>
                <a:ext uri="{FF2B5EF4-FFF2-40B4-BE49-F238E27FC236}">
                  <a16:creationId xmlns:a16="http://schemas.microsoft.com/office/drawing/2014/main" id="{4CD20E54-E534-4B01-B12B-990CA86611CE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2" name="组合 331">
            <a:extLst>
              <a:ext uri="{FF2B5EF4-FFF2-40B4-BE49-F238E27FC236}">
                <a16:creationId xmlns:a16="http://schemas.microsoft.com/office/drawing/2014/main" id="{62DFEC9A-F67E-4A26-AD9E-51D53FEC00EA}"/>
              </a:ext>
            </a:extLst>
          </p:cNvPr>
          <p:cNvGrpSpPr/>
          <p:nvPr/>
        </p:nvGrpSpPr>
        <p:grpSpPr>
          <a:xfrm>
            <a:off x="2771875" y="39550540"/>
            <a:ext cx="364202" cy="461665"/>
            <a:chOff x="12153899" y="17078314"/>
            <a:chExt cx="364202" cy="461665"/>
          </a:xfrm>
        </p:grpSpPr>
        <p:sp>
          <p:nvSpPr>
            <p:cNvPr id="333" name="椭圆 332">
              <a:extLst>
                <a:ext uri="{FF2B5EF4-FFF2-40B4-BE49-F238E27FC236}">
                  <a16:creationId xmlns:a16="http://schemas.microsoft.com/office/drawing/2014/main" id="{8902CD29-1ABA-4731-94FD-27AFF957DB22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34" name="文本框 109">
              <a:extLst>
                <a:ext uri="{FF2B5EF4-FFF2-40B4-BE49-F238E27FC236}">
                  <a16:creationId xmlns:a16="http://schemas.microsoft.com/office/drawing/2014/main" id="{191C8519-5460-4BC5-9062-B18C2B6723E7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35" name="矩形 334">
            <a:extLst>
              <a:ext uri="{FF2B5EF4-FFF2-40B4-BE49-F238E27FC236}">
                <a16:creationId xmlns:a16="http://schemas.microsoft.com/office/drawing/2014/main" id="{89AA41B0-01E2-427F-B855-55A38C3103F6}"/>
              </a:ext>
            </a:extLst>
          </p:cNvPr>
          <p:cNvSpPr/>
          <p:nvPr/>
        </p:nvSpPr>
        <p:spPr>
          <a:xfrm>
            <a:off x="10784841" y="4149752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36" name="矩形 335">
            <a:extLst>
              <a:ext uri="{FF2B5EF4-FFF2-40B4-BE49-F238E27FC236}">
                <a16:creationId xmlns:a16="http://schemas.microsoft.com/office/drawing/2014/main" id="{25FF4B19-CA07-4F4F-BC68-3A80447AB826}"/>
              </a:ext>
            </a:extLst>
          </p:cNvPr>
          <p:cNvSpPr/>
          <p:nvPr/>
        </p:nvSpPr>
        <p:spPr>
          <a:xfrm>
            <a:off x="7828012" y="4149752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37" name="矩形 336">
            <a:extLst>
              <a:ext uri="{FF2B5EF4-FFF2-40B4-BE49-F238E27FC236}">
                <a16:creationId xmlns:a16="http://schemas.microsoft.com/office/drawing/2014/main" id="{B7644CAD-8BED-487C-A5A3-C1C96D680E4A}"/>
              </a:ext>
            </a:extLst>
          </p:cNvPr>
          <p:cNvSpPr/>
          <p:nvPr/>
        </p:nvSpPr>
        <p:spPr>
          <a:xfrm>
            <a:off x="4900960" y="4149752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38" name="矩形 337">
            <a:extLst>
              <a:ext uri="{FF2B5EF4-FFF2-40B4-BE49-F238E27FC236}">
                <a16:creationId xmlns:a16="http://schemas.microsoft.com/office/drawing/2014/main" id="{867898ED-78DC-4F4F-AC19-6AB78E215BA9}"/>
              </a:ext>
            </a:extLst>
          </p:cNvPr>
          <p:cNvSpPr/>
          <p:nvPr/>
        </p:nvSpPr>
        <p:spPr>
          <a:xfrm>
            <a:off x="1891421" y="4149752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39" name="矩形 338">
            <a:extLst>
              <a:ext uri="{FF2B5EF4-FFF2-40B4-BE49-F238E27FC236}">
                <a16:creationId xmlns:a16="http://schemas.microsoft.com/office/drawing/2014/main" id="{71B441BC-9A7E-4097-8FEE-2A7E11DC2019}"/>
              </a:ext>
            </a:extLst>
          </p:cNvPr>
          <p:cNvSpPr/>
          <p:nvPr/>
        </p:nvSpPr>
        <p:spPr>
          <a:xfrm>
            <a:off x="290878" y="41497523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40" name="矩形 339">
            <a:extLst>
              <a:ext uri="{FF2B5EF4-FFF2-40B4-BE49-F238E27FC236}">
                <a16:creationId xmlns:a16="http://schemas.microsoft.com/office/drawing/2014/main" id="{CE922DC3-0EF0-4398-B070-89D4ECE49471}"/>
              </a:ext>
            </a:extLst>
          </p:cNvPr>
          <p:cNvSpPr/>
          <p:nvPr/>
        </p:nvSpPr>
        <p:spPr>
          <a:xfrm>
            <a:off x="3318221" y="41497522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41" name="矩形 340">
            <a:extLst>
              <a:ext uri="{FF2B5EF4-FFF2-40B4-BE49-F238E27FC236}">
                <a16:creationId xmlns:a16="http://schemas.microsoft.com/office/drawing/2014/main" id="{CEA96D22-A605-4BFE-A9F7-A52E6D742753}"/>
              </a:ext>
            </a:extLst>
          </p:cNvPr>
          <p:cNvSpPr/>
          <p:nvPr/>
        </p:nvSpPr>
        <p:spPr>
          <a:xfrm>
            <a:off x="6259560" y="41497521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42" name="矩形 341">
            <a:extLst>
              <a:ext uri="{FF2B5EF4-FFF2-40B4-BE49-F238E27FC236}">
                <a16:creationId xmlns:a16="http://schemas.microsoft.com/office/drawing/2014/main" id="{32F46B4A-89DD-466E-A52D-3BF5538EAA75}"/>
              </a:ext>
            </a:extLst>
          </p:cNvPr>
          <p:cNvSpPr/>
          <p:nvPr/>
        </p:nvSpPr>
        <p:spPr>
          <a:xfrm>
            <a:off x="9192896" y="41497520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43" name="文本框 342">
            <a:extLst>
              <a:ext uri="{FF2B5EF4-FFF2-40B4-BE49-F238E27FC236}">
                <a16:creationId xmlns:a16="http://schemas.microsoft.com/office/drawing/2014/main" id="{9EFE7F92-3E9C-4358-AFA1-9879DD19C78C}"/>
              </a:ext>
            </a:extLst>
          </p:cNvPr>
          <p:cNvSpPr txBox="1"/>
          <p:nvPr/>
        </p:nvSpPr>
        <p:spPr>
          <a:xfrm>
            <a:off x="3381459" y="39673917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设备排查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44" name="文本框 343">
            <a:extLst>
              <a:ext uri="{FF2B5EF4-FFF2-40B4-BE49-F238E27FC236}">
                <a16:creationId xmlns:a16="http://schemas.microsoft.com/office/drawing/2014/main" id="{BE92754E-8E34-42AA-B3D6-056EC9EE33DE}"/>
              </a:ext>
            </a:extLst>
          </p:cNvPr>
          <p:cNvSpPr txBox="1"/>
          <p:nvPr/>
        </p:nvSpPr>
        <p:spPr>
          <a:xfrm>
            <a:off x="6228333" y="39691169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方法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45" name="文本框 344">
            <a:extLst>
              <a:ext uri="{FF2B5EF4-FFF2-40B4-BE49-F238E27FC236}">
                <a16:creationId xmlns:a16="http://schemas.microsoft.com/office/drawing/2014/main" id="{FB46A335-A138-4C9F-AB2C-6D3D14F3685E}"/>
              </a:ext>
            </a:extLst>
          </p:cNvPr>
          <p:cNvSpPr txBox="1"/>
          <p:nvPr/>
        </p:nvSpPr>
        <p:spPr>
          <a:xfrm>
            <a:off x="9202165" y="39668921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>
                <a:latin typeface="Arial" pitchFamily="34" charset="0"/>
                <a:cs typeface="Arial" pitchFamily="34" charset="0"/>
              </a:rPr>
              <a:t>环境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46" name="文本框 345">
            <a:extLst>
              <a:ext uri="{FF2B5EF4-FFF2-40B4-BE49-F238E27FC236}">
                <a16:creationId xmlns:a16="http://schemas.microsoft.com/office/drawing/2014/main" id="{A0420763-D978-420F-8AE9-EBF8AB6925A4}"/>
              </a:ext>
            </a:extLst>
          </p:cNvPr>
          <p:cNvSpPr txBox="1"/>
          <p:nvPr/>
        </p:nvSpPr>
        <p:spPr>
          <a:xfrm>
            <a:off x="315447" y="45594129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FE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47" name="矩形 346">
            <a:extLst>
              <a:ext uri="{FF2B5EF4-FFF2-40B4-BE49-F238E27FC236}">
                <a16:creationId xmlns:a16="http://schemas.microsoft.com/office/drawing/2014/main" id="{3B9F8515-F73C-48AA-930F-6B6B1F3E6EF5}"/>
              </a:ext>
            </a:extLst>
          </p:cNvPr>
          <p:cNvSpPr/>
          <p:nvPr/>
        </p:nvSpPr>
        <p:spPr>
          <a:xfrm>
            <a:off x="261325" y="42748507"/>
            <a:ext cx="11746523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348" name="文本框 347">
            <a:extLst>
              <a:ext uri="{FF2B5EF4-FFF2-40B4-BE49-F238E27FC236}">
                <a16:creationId xmlns:a16="http://schemas.microsoft.com/office/drawing/2014/main" id="{A0A46FE6-36EA-4D99-8973-FDDB0E1CC3F1}"/>
              </a:ext>
            </a:extLst>
          </p:cNvPr>
          <p:cNvSpPr txBox="1"/>
          <p:nvPr/>
        </p:nvSpPr>
        <p:spPr>
          <a:xfrm>
            <a:off x="282716" y="42104589"/>
            <a:ext cx="29546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b="1" dirty="0">
                <a:latin typeface="Arial" pitchFamily="34" charset="0"/>
                <a:cs typeface="Arial" pitchFamily="34" charset="0"/>
              </a:rPr>
              <a:t>测试信息排查</a:t>
            </a:r>
          </a:p>
        </p:txBody>
      </p:sp>
      <p:sp>
        <p:nvSpPr>
          <p:cNvPr id="349" name="矩形 348">
            <a:extLst>
              <a:ext uri="{FF2B5EF4-FFF2-40B4-BE49-F238E27FC236}">
                <a16:creationId xmlns:a16="http://schemas.microsoft.com/office/drawing/2014/main" id="{C6E64EE3-2062-4C1D-983D-8CCC3E529832}"/>
              </a:ext>
            </a:extLst>
          </p:cNvPr>
          <p:cNvSpPr/>
          <p:nvPr/>
        </p:nvSpPr>
        <p:spPr>
          <a:xfrm>
            <a:off x="6515882" y="44269272"/>
            <a:ext cx="2963007" cy="8439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</a:rPr>
              <a:t>SD BU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350" name="矩形 349">
            <a:extLst>
              <a:ext uri="{FF2B5EF4-FFF2-40B4-BE49-F238E27FC236}">
                <a16:creationId xmlns:a16="http://schemas.microsoft.com/office/drawing/2014/main" id="{74F8EBD0-FC9D-4E06-9D57-E822680EF5FB}"/>
              </a:ext>
            </a:extLst>
          </p:cNvPr>
          <p:cNvSpPr/>
          <p:nvPr/>
        </p:nvSpPr>
        <p:spPr>
          <a:xfrm>
            <a:off x="2002521" y="42982091"/>
            <a:ext cx="2963007" cy="998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</a:rPr>
              <a:t>FE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351" name="矩形 350">
            <a:extLst>
              <a:ext uri="{FF2B5EF4-FFF2-40B4-BE49-F238E27FC236}">
                <a16:creationId xmlns:a16="http://schemas.microsoft.com/office/drawing/2014/main" id="{03E30CEA-C3B4-4126-A8CF-A3704C6F3E47}"/>
              </a:ext>
            </a:extLst>
          </p:cNvPr>
          <p:cNvSpPr/>
          <p:nvPr/>
        </p:nvSpPr>
        <p:spPr>
          <a:xfrm>
            <a:off x="6515882" y="42982091"/>
            <a:ext cx="2963007" cy="9967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</a:rPr>
              <a:t>BE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sp>
        <p:nvSpPr>
          <p:cNvPr id="352" name="矩形 351">
            <a:extLst>
              <a:ext uri="{FF2B5EF4-FFF2-40B4-BE49-F238E27FC236}">
                <a16:creationId xmlns:a16="http://schemas.microsoft.com/office/drawing/2014/main" id="{936810FE-75D1-4926-ABAC-ECA83D721E4F}"/>
              </a:ext>
            </a:extLst>
          </p:cNvPr>
          <p:cNvSpPr/>
          <p:nvPr/>
        </p:nvSpPr>
        <p:spPr>
          <a:xfrm>
            <a:off x="2002521" y="44269272"/>
            <a:ext cx="2963007" cy="8439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2800" b="1" dirty="0">
                <a:solidFill>
                  <a:schemeClr val="tx1"/>
                </a:solidFill>
              </a:rPr>
              <a:t>CFC</a:t>
            </a:r>
            <a:endParaRPr lang="zh-CN" altLang="en-US" sz="2800" b="1" dirty="0">
              <a:solidFill>
                <a:schemeClr val="tx1"/>
              </a:solidFill>
            </a:endParaRPr>
          </a:p>
        </p:txBody>
      </p:sp>
      <p:grpSp>
        <p:nvGrpSpPr>
          <p:cNvPr id="353" name="组合 352">
            <a:extLst>
              <a:ext uri="{FF2B5EF4-FFF2-40B4-BE49-F238E27FC236}">
                <a16:creationId xmlns:a16="http://schemas.microsoft.com/office/drawing/2014/main" id="{D449325F-C452-4346-B336-CDFD3102558A}"/>
              </a:ext>
            </a:extLst>
          </p:cNvPr>
          <p:cNvGrpSpPr/>
          <p:nvPr/>
        </p:nvGrpSpPr>
        <p:grpSpPr>
          <a:xfrm>
            <a:off x="11639151" y="42679112"/>
            <a:ext cx="364202" cy="461665"/>
            <a:chOff x="12153899" y="17078314"/>
            <a:chExt cx="364202" cy="461665"/>
          </a:xfrm>
        </p:grpSpPr>
        <p:sp>
          <p:nvSpPr>
            <p:cNvPr id="354" name="椭圆 353">
              <a:extLst>
                <a:ext uri="{FF2B5EF4-FFF2-40B4-BE49-F238E27FC236}">
                  <a16:creationId xmlns:a16="http://schemas.microsoft.com/office/drawing/2014/main" id="{8EE98E2F-CF96-4C25-BD88-B6A5504613B6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55" name="文本框 354">
              <a:extLst>
                <a:ext uri="{FF2B5EF4-FFF2-40B4-BE49-F238E27FC236}">
                  <a16:creationId xmlns:a16="http://schemas.microsoft.com/office/drawing/2014/main" id="{8EFC04D7-147A-4F7D-8C1D-B57481D04291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56" name="矩形 355">
            <a:extLst>
              <a:ext uri="{FF2B5EF4-FFF2-40B4-BE49-F238E27FC236}">
                <a16:creationId xmlns:a16="http://schemas.microsoft.com/office/drawing/2014/main" id="{705512CC-2558-4AAD-B514-EECD78357C92}"/>
              </a:ext>
            </a:extLst>
          </p:cNvPr>
          <p:cNvSpPr/>
          <p:nvPr/>
        </p:nvSpPr>
        <p:spPr>
          <a:xfrm>
            <a:off x="253900" y="4552889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357" name="矩形 356">
            <a:extLst>
              <a:ext uri="{FF2B5EF4-FFF2-40B4-BE49-F238E27FC236}">
                <a16:creationId xmlns:a16="http://schemas.microsoft.com/office/drawing/2014/main" id="{3C652C3F-21B3-4E8B-AF55-9FC0B39B4DF4}"/>
              </a:ext>
            </a:extLst>
          </p:cNvPr>
          <p:cNvSpPr/>
          <p:nvPr/>
        </p:nvSpPr>
        <p:spPr>
          <a:xfrm>
            <a:off x="3234963" y="4552889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358" name="矩形 357">
            <a:extLst>
              <a:ext uri="{FF2B5EF4-FFF2-40B4-BE49-F238E27FC236}">
                <a16:creationId xmlns:a16="http://schemas.microsoft.com/office/drawing/2014/main" id="{3E8023C7-59C3-4E0A-A4B2-B429F167F036}"/>
              </a:ext>
            </a:extLst>
          </p:cNvPr>
          <p:cNvSpPr/>
          <p:nvPr/>
        </p:nvSpPr>
        <p:spPr>
          <a:xfrm>
            <a:off x="6174649" y="4552889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sp>
        <p:nvSpPr>
          <p:cNvPr id="359" name="矩形 358">
            <a:extLst>
              <a:ext uri="{FF2B5EF4-FFF2-40B4-BE49-F238E27FC236}">
                <a16:creationId xmlns:a16="http://schemas.microsoft.com/office/drawing/2014/main" id="{FB3647CB-5E3F-48F0-9A25-7F019307E19E}"/>
              </a:ext>
            </a:extLst>
          </p:cNvPr>
          <p:cNvSpPr/>
          <p:nvPr/>
        </p:nvSpPr>
        <p:spPr>
          <a:xfrm>
            <a:off x="9139835" y="45528895"/>
            <a:ext cx="2844076" cy="251924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600" dirty="0" err="1">
              <a:solidFill>
                <a:prstClr val="white"/>
              </a:solidFill>
            </a:endParaRPr>
          </a:p>
        </p:txBody>
      </p:sp>
      <p:grpSp>
        <p:nvGrpSpPr>
          <p:cNvPr id="360" name="组合 359">
            <a:extLst>
              <a:ext uri="{FF2B5EF4-FFF2-40B4-BE49-F238E27FC236}">
                <a16:creationId xmlns:a16="http://schemas.microsoft.com/office/drawing/2014/main" id="{CCB6D72C-B3A8-46D3-A5CF-9E61BCF63170}"/>
              </a:ext>
            </a:extLst>
          </p:cNvPr>
          <p:cNvGrpSpPr/>
          <p:nvPr/>
        </p:nvGrpSpPr>
        <p:grpSpPr>
          <a:xfrm>
            <a:off x="11639151" y="45490044"/>
            <a:ext cx="364202" cy="461665"/>
            <a:chOff x="12153899" y="17078314"/>
            <a:chExt cx="364202" cy="461665"/>
          </a:xfrm>
        </p:grpSpPr>
        <p:sp>
          <p:nvSpPr>
            <p:cNvPr id="361" name="椭圆 360">
              <a:extLst>
                <a:ext uri="{FF2B5EF4-FFF2-40B4-BE49-F238E27FC236}">
                  <a16:creationId xmlns:a16="http://schemas.microsoft.com/office/drawing/2014/main" id="{DC6CE4B4-44A2-4B3C-BFB7-AB44C5A9B2DC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62" name="文本框 361">
              <a:extLst>
                <a:ext uri="{FF2B5EF4-FFF2-40B4-BE49-F238E27FC236}">
                  <a16:creationId xmlns:a16="http://schemas.microsoft.com/office/drawing/2014/main" id="{1478245A-9B10-4443-A863-3DE209320710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63" name="组合 362">
            <a:extLst>
              <a:ext uri="{FF2B5EF4-FFF2-40B4-BE49-F238E27FC236}">
                <a16:creationId xmlns:a16="http://schemas.microsoft.com/office/drawing/2014/main" id="{45E6FEAD-B2B4-4253-A630-7224C8CF00A4}"/>
              </a:ext>
            </a:extLst>
          </p:cNvPr>
          <p:cNvGrpSpPr/>
          <p:nvPr/>
        </p:nvGrpSpPr>
        <p:grpSpPr>
          <a:xfrm>
            <a:off x="8646100" y="45466432"/>
            <a:ext cx="364202" cy="461665"/>
            <a:chOff x="12153899" y="17078314"/>
            <a:chExt cx="364202" cy="461665"/>
          </a:xfrm>
        </p:grpSpPr>
        <p:sp>
          <p:nvSpPr>
            <p:cNvPr id="364" name="椭圆 363">
              <a:extLst>
                <a:ext uri="{FF2B5EF4-FFF2-40B4-BE49-F238E27FC236}">
                  <a16:creationId xmlns:a16="http://schemas.microsoft.com/office/drawing/2014/main" id="{0EDAE7EC-D00B-4EBD-A6AF-6B3A9B744C06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65" name="文本框 364">
              <a:extLst>
                <a:ext uri="{FF2B5EF4-FFF2-40B4-BE49-F238E27FC236}">
                  <a16:creationId xmlns:a16="http://schemas.microsoft.com/office/drawing/2014/main" id="{BB41834B-7261-4044-AA0C-B366F25985BD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66" name="组合 365">
            <a:extLst>
              <a:ext uri="{FF2B5EF4-FFF2-40B4-BE49-F238E27FC236}">
                <a16:creationId xmlns:a16="http://schemas.microsoft.com/office/drawing/2014/main" id="{A0984217-2990-40B3-BF54-0D1754F0FEA0}"/>
              </a:ext>
            </a:extLst>
          </p:cNvPr>
          <p:cNvGrpSpPr/>
          <p:nvPr/>
        </p:nvGrpSpPr>
        <p:grpSpPr>
          <a:xfrm>
            <a:off x="5726825" y="45453501"/>
            <a:ext cx="364202" cy="461665"/>
            <a:chOff x="12153899" y="17078314"/>
            <a:chExt cx="364202" cy="461665"/>
          </a:xfrm>
        </p:grpSpPr>
        <p:sp>
          <p:nvSpPr>
            <p:cNvPr id="367" name="椭圆 366">
              <a:extLst>
                <a:ext uri="{FF2B5EF4-FFF2-40B4-BE49-F238E27FC236}">
                  <a16:creationId xmlns:a16="http://schemas.microsoft.com/office/drawing/2014/main" id="{5B63FC1E-9945-4760-AE7A-EE1982E221D3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68" name="文本框 109">
              <a:extLst>
                <a:ext uri="{FF2B5EF4-FFF2-40B4-BE49-F238E27FC236}">
                  <a16:creationId xmlns:a16="http://schemas.microsoft.com/office/drawing/2014/main" id="{B68F6C1D-158D-4218-BA31-87081A8A658F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69" name="组合 368">
            <a:extLst>
              <a:ext uri="{FF2B5EF4-FFF2-40B4-BE49-F238E27FC236}">
                <a16:creationId xmlns:a16="http://schemas.microsoft.com/office/drawing/2014/main" id="{EC4B433E-4F6E-4BB7-8A28-8458E9B13508}"/>
              </a:ext>
            </a:extLst>
          </p:cNvPr>
          <p:cNvGrpSpPr/>
          <p:nvPr/>
        </p:nvGrpSpPr>
        <p:grpSpPr>
          <a:xfrm>
            <a:off x="2771875" y="45453500"/>
            <a:ext cx="364202" cy="461665"/>
            <a:chOff x="12153899" y="17078314"/>
            <a:chExt cx="364202" cy="461665"/>
          </a:xfrm>
        </p:grpSpPr>
        <p:sp>
          <p:nvSpPr>
            <p:cNvPr id="370" name="椭圆 369">
              <a:extLst>
                <a:ext uri="{FF2B5EF4-FFF2-40B4-BE49-F238E27FC236}">
                  <a16:creationId xmlns:a16="http://schemas.microsoft.com/office/drawing/2014/main" id="{B9C65C91-EEDA-4BE9-83C4-38E459C9E29A}"/>
                </a:ext>
              </a:extLst>
            </p:cNvPr>
            <p:cNvSpPr/>
            <p:nvPr/>
          </p:nvSpPr>
          <p:spPr>
            <a:xfrm>
              <a:off x="12192000" y="17165147"/>
              <a:ext cx="288000" cy="288000"/>
            </a:xfrm>
            <a:prstGeom prst="ellipse">
              <a:avLst/>
            </a:prstGeom>
            <a:solidFill>
              <a:srgbClr val="6F71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82880" tIns="18288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chemeClr val="lt1"/>
                  </a:solidFill>
                  <a:latin typeface="+mn-lt"/>
                  <a:ea typeface="+mn-ea"/>
                  <a:cs typeface="+mn-cs"/>
                  <a:sym typeface="Arial"/>
                </a:defRPr>
              </a:lvl9pPr>
            </a:lstStyle>
            <a:p>
              <a:pPr algn="l"/>
              <a:endParaRPr lang="zh-CN" altLang="en-US" sz="1600" dirty="0" err="1">
                <a:solidFill>
                  <a:prstClr val="white"/>
                </a:solidFill>
              </a:endParaRPr>
            </a:p>
          </p:txBody>
        </p:sp>
        <p:sp>
          <p:nvSpPr>
            <p:cNvPr id="371" name="文本框 109">
              <a:extLst>
                <a:ext uri="{FF2B5EF4-FFF2-40B4-BE49-F238E27FC236}">
                  <a16:creationId xmlns:a16="http://schemas.microsoft.com/office/drawing/2014/main" id="{AE76BAA8-6881-45CC-95A8-9D4F3CB9F090}"/>
                </a:ext>
              </a:extLst>
            </p:cNvPr>
            <p:cNvSpPr txBox="1"/>
            <p:nvPr/>
          </p:nvSpPr>
          <p:spPr>
            <a:xfrm>
              <a:off x="12153899" y="17078314"/>
              <a:ext cx="36420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933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×</a:t>
              </a:r>
              <a:endParaRPr lang="zh-CN" altLang="en-US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72" name="矩形 371">
            <a:extLst>
              <a:ext uri="{FF2B5EF4-FFF2-40B4-BE49-F238E27FC236}">
                <a16:creationId xmlns:a16="http://schemas.microsoft.com/office/drawing/2014/main" id="{BFA7C3FA-4D89-4F0E-B153-FAC87D99CAB7}"/>
              </a:ext>
            </a:extLst>
          </p:cNvPr>
          <p:cNvSpPr/>
          <p:nvPr/>
        </p:nvSpPr>
        <p:spPr>
          <a:xfrm>
            <a:off x="10784841" y="4740048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73" name="矩形 372">
            <a:extLst>
              <a:ext uri="{FF2B5EF4-FFF2-40B4-BE49-F238E27FC236}">
                <a16:creationId xmlns:a16="http://schemas.microsoft.com/office/drawing/2014/main" id="{0BC249CF-9A85-42DF-AD21-06259A32731D}"/>
              </a:ext>
            </a:extLst>
          </p:cNvPr>
          <p:cNvSpPr/>
          <p:nvPr/>
        </p:nvSpPr>
        <p:spPr>
          <a:xfrm>
            <a:off x="7828012" y="4740048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74" name="矩形 373">
            <a:extLst>
              <a:ext uri="{FF2B5EF4-FFF2-40B4-BE49-F238E27FC236}">
                <a16:creationId xmlns:a16="http://schemas.microsoft.com/office/drawing/2014/main" id="{C078EB8C-D16D-4FAF-B290-8FCCA75C03ED}"/>
              </a:ext>
            </a:extLst>
          </p:cNvPr>
          <p:cNvSpPr/>
          <p:nvPr/>
        </p:nvSpPr>
        <p:spPr>
          <a:xfrm>
            <a:off x="4900960" y="4740048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75" name="矩形 374">
            <a:extLst>
              <a:ext uri="{FF2B5EF4-FFF2-40B4-BE49-F238E27FC236}">
                <a16:creationId xmlns:a16="http://schemas.microsoft.com/office/drawing/2014/main" id="{CA2E2567-90DE-4233-A4D6-3A2385360614}"/>
              </a:ext>
            </a:extLst>
          </p:cNvPr>
          <p:cNvSpPr/>
          <p:nvPr/>
        </p:nvSpPr>
        <p:spPr>
          <a:xfrm>
            <a:off x="1891421" y="47400482"/>
            <a:ext cx="1182291" cy="61531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保 存</a:t>
            </a:r>
          </a:p>
        </p:txBody>
      </p:sp>
      <p:sp>
        <p:nvSpPr>
          <p:cNvPr id="376" name="矩形 375">
            <a:extLst>
              <a:ext uri="{FF2B5EF4-FFF2-40B4-BE49-F238E27FC236}">
                <a16:creationId xmlns:a16="http://schemas.microsoft.com/office/drawing/2014/main" id="{ADBDBFC0-45FD-44B8-8BA0-0405FFB3A57D}"/>
              </a:ext>
            </a:extLst>
          </p:cNvPr>
          <p:cNvSpPr/>
          <p:nvPr/>
        </p:nvSpPr>
        <p:spPr>
          <a:xfrm>
            <a:off x="290878" y="47400483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77" name="矩形 376">
            <a:extLst>
              <a:ext uri="{FF2B5EF4-FFF2-40B4-BE49-F238E27FC236}">
                <a16:creationId xmlns:a16="http://schemas.microsoft.com/office/drawing/2014/main" id="{62C7CC06-9AA1-4105-9461-CF1B29541C53}"/>
              </a:ext>
            </a:extLst>
          </p:cNvPr>
          <p:cNvSpPr/>
          <p:nvPr/>
        </p:nvSpPr>
        <p:spPr>
          <a:xfrm>
            <a:off x="3318221" y="47400482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78" name="矩形 377">
            <a:extLst>
              <a:ext uri="{FF2B5EF4-FFF2-40B4-BE49-F238E27FC236}">
                <a16:creationId xmlns:a16="http://schemas.microsoft.com/office/drawing/2014/main" id="{37238FDD-EC9F-479B-993E-7F3D153E1A75}"/>
              </a:ext>
            </a:extLst>
          </p:cNvPr>
          <p:cNvSpPr/>
          <p:nvPr/>
        </p:nvSpPr>
        <p:spPr>
          <a:xfrm>
            <a:off x="6259560" y="47400481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79" name="矩形 378">
            <a:extLst>
              <a:ext uri="{FF2B5EF4-FFF2-40B4-BE49-F238E27FC236}">
                <a16:creationId xmlns:a16="http://schemas.microsoft.com/office/drawing/2014/main" id="{E491AB26-A4C9-4EDD-864F-E0690ED68291}"/>
              </a:ext>
            </a:extLst>
          </p:cNvPr>
          <p:cNvSpPr/>
          <p:nvPr/>
        </p:nvSpPr>
        <p:spPr>
          <a:xfrm>
            <a:off x="9192896" y="47400480"/>
            <a:ext cx="1311871" cy="5851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2800" b="1" dirty="0">
                <a:solidFill>
                  <a:schemeClr val="tx1"/>
                </a:solidFill>
              </a:rPr>
              <a:t>附件</a:t>
            </a:r>
          </a:p>
        </p:txBody>
      </p:sp>
      <p:sp>
        <p:nvSpPr>
          <p:cNvPr id="380" name="文本框 379">
            <a:extLst>
              <a:ext uri="{FF2B5EF4-FFF2-40B4-BE49-F238E27FC236}">
                <a16:creationId xmlns:a16="http://schemas.microsoft.com/office/drawing/2014/main" id="{5A6E3AFD-B73A-402C-9869-F20395D9F3AB}"/>
              </a:ext>
            </a:extLst>
          </p:cNvPr>
          <p:cNvSpPr txBox="1"/>
          <p:nvPr/>
        </p:nvSpPr>
        <p:spPr>
          <a:xfrm>
            <a:off x="3381459" y="45576877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BE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81" name="文本框 380">
            <a:extLst>
              <a:ext uri="{FF2B5EF4-FFF2-40B4-BE49-F238E27FC236}">
                <a16:creationId xmlns:a16="http://schemas.microsoft.com/office/drawing/2014/main" id="{F2109115-9701-4896-A01F-E08F1BD85462}"/>
              </a:ext>
            </a:extLst>
          </p:cNvPr>
          <p:cNvSpPr txBox="1"/>
          <p:nvPr/>
        </p:nvSpPr>
        <p:spPr>
          <a:xfrm>
            <a:off x="6228333" y="45594129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CFC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82" name="文本框 381">
            <a:extLst>
              <a:ext uri="{FF2B5EF4-FFF2-40B4-BE49-F238E27FC236}">
                <a16:creationId xmlns:a16="http://schemas.microsoft.com/office/drawing/2014/main" id="{3A07F9DE-B4AD-468F-8B04-13784EF4CDD0}"/>
              </a:ext>
            </a:extLst>
          </p:cNvPr>
          <p:cNvSpPr txBox="1"/>
          <p:nvPr/>
        </p:nvSpPr>
        <p:spPr>
          <a:xfrm>
            <a:off x="9202165" y="45571881"/>
            <a:ext cx="243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SD BU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：</a:t>
            </a:r>
            <a:endParaRPr lang="en-US" altLang="zh-CN" sz="1800" dirty="0">
              <a:latin typeface="Arial" pitchFamily="34" charset="0"/>
              <a:cs typeface="Arial" pitchFamily="34" charset="0"/>
            </a:endParaRP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1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2. </a:t>
            </a:r>
          </a:p>
          <a:p>
            <a:r>
              <a:rPr lang="en-US" altLang="zh-CN" sz="1800" dirty="0">
                <a:latin typeface="Arial" pitchFamily="34" charset="0"/>
                <a:cs typeface="Arial" pitchFamily="34" charset="0"/>
              </a:rPr>
              <a:t>3. </a:t>
            </a:r>
            <a:r>
              <a:rPr lang="zh-CN" altLang="en-US" sz="180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073712" y="18154650"/>
            <a:ext cx="3631122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Arial" pitchFamily="34" charset="0"/>
                <a:cs typeface="Arial" pitchFamily="34" charset="0"/>
              </a:rPr>
              <a:t>附件上传方式：点击“上传附件”按钮，弹出上传小框选择文件上传</a:t>
            </a:r>
            <a:endParaRPr lang="zh-CN" altLang="en-US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92227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35&quot; g=&quot;35&quot; b=&quot;35&quot;/&gt;&lt;m_nBrightness endver=&quot;26206&quot; val=&quot;0&quot;/&gt;&lt;/elem&gt;&lt;elem m_fUsage=&quot;9.00000000000000022204E-01&quot;&gt;&lt;m_msothmcolidx val=&quot;0&quot;/&gt;&lt;m_rgb r=&quot;00&quot; g=&quot;20&quot; b=&quot;60&quot;/&gt;&lt;m_nBrightness endver=&quot;26206&quot; val=&quot;0&quot;/&gt;&lt;/elem&gt;&lt;elem m_fUsage=&quot;8.10000000000000053291E-01&quot;&gt;&lt;m_msothmcolidx val=&quot;0&quot;/&gt;&lt;m_rgb r=&quot;48&quot; g=&quot;A1&quot; b=&quot;FA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orola">
  <a:themeElements>
    <a:clrScheme name="Strategy-8_2020">
      <a:dk1>
        <a:srgbClr val="FFFFFF"/>
      </a:dk1>
      <a:lt1>
        <a:srgbClr val="001428"/>
      </a:lt1>
      <a:dk2>
        <a:srgbClr val="FFFFFF"/>
      </a:dk2>
      <a:lt2>
        <a:srgbClr val="001428"/>
      </a:lt2>
      <a:accent1>
        <a:srgbClr val="F2F2F2"/>
      </a:accent1>
      <a:accent2>
        <a:srgbClr val="B5B5B5"/>
      </a:accent2>
      <a:accent3>
        <a:srgbClr val="3C3C3C"/>
      </a:accent3>
      <a:accent4>
        <a:srgbClr val="00B0F0"/>
      </a:accent4>
      <a:accent5>
        <a:srgbClr val="FF564E"/>
      </a:accent5>
      <a:accent6>
        <a:srgbClr val="FFC000"/>
      </a:accent6>
      <a:hlink>
        <a:srgbClr val="DDC8B7"/>
      </a:hlink>
      <a:folHlink>
        <a:srgbClr val="00B0F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FFC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noAutofit/>
      </a:bodyPr>
      <a:lstStyle>
        <a:defPPr algn="l">
          <a:defRPr sz="1600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enovo+Moto">
  <a:themeElements>
    <a:clrScheme name="Strategy-8_2020">
      <a:dk1>
        <a:srgbClr val="FFFFFF"/>
      </a:dk1>
      <a:lt1>
        <a:srgbClr val="001428"/>
      </a:lt1>
      <a:dk2>
        <a:srgbClr val="FFFFFF"/>
      </a:dk2>
      <a:lt2>
        <a:srgbClr val="001428"/>
      </a:lt2>
      <a:accent1>
        <a:srgbClr val="F2F2F2"/>
      </a:accent1>
      <a:accent2>
        <a:srgbClr val="B5B5B5"/>
      </a:accent2>
      <a:accent3>
        <a:srgbClr val="3C3C3C"/>
      </a:accent3>
      <a:accent4>
        <a:srgbClr val="00B0F0"/>
      </a:accent4>
      <a:accent5>
        <a:srgbClr val="FF564E"/>
      </a:accent5>
      <a:accent6>
        <a:srgbClr val="FFC000"/>
      </a:accent6>
      <a:hlink>
        <a:srgbClr val="DDC8B7"/>
      </a:hlink>
      <a:folHlink>
        <a:srgbClr val="00B0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sz="1600" b="1" dirty="0" err="1">
            <a:solidFill>
              <a:schemeClr val="tx1"/>
            </a:solidFill>
            <a:latin typeface="Arial"/>
            <a:cs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FFC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defRPr sz="1600" b="1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Lenovo Master">
  <a:themeElements>
    <a:clrScheme name="Lenovo Colors">
      <a:dk1>
        <a:srgbClr val="000000"/>
      </a:dk1>
      <a:lt1>
        <a:sysClr val="window" lastClr="FFFFFF"/>
      </a:lt1>
      <a:dk2>
        <a:srgbClr val="8246AF"/>
      </a:dk2>
      <a:lt2>
        <a:srgbClr val="333F48"/>
      </a:lt2>
      <a:accent1>
        <a:srgbClr val="E1140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6C8E1"/>
      </a:accent5>
      <a:accent6>
        <a:srgbClr val="6AC346"/>
      </a:accent6>
      <a:hlink>
        <a:srgbClr val="4AC0E0"/>
      </a:hlink>
      <a:folHlink>
        <a:srgbClr val="4AC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6F7170"/>
        </a:solidFill>
        <a:ln>
          <a:noFill/>
        </a:ln>
      </a:spPr>
      <a:bodyPr lIns="182880" tIns="182880" rIns="182880" bIns="182880" rtlCol="0" anchor="t"/>
      <a:lstStyle>
        <a:defPPr algn="l">
          <a:defRPr sz="1600" dirty="0" err="1" smtClean="0">
            <a:solidFill>
              <a:prstClr val="white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Motorola">
  <a:themeElements>
    <a:clrScheme name="Strategy-8_2020">
      <a:dk1>
        <a:srgbClr val="FFFFFF"/>
      </a:dk1>
      <a:lt1>
        <a:srgbClr val="001428"/>
      </a:lt1>
      <a:dk2>
        <a:srgbClr val="FFFFFF"/>
      </a:dk2>
      <a:lt2>
        <a:srgbClr val="001428"/>
      </a:lt2>
      <a:accent1>
        <a:srgbClr val="F2F2F2"/>
      </a:accent1>
      <a:accent2>
        <a:srgbClr val="B5B5B5"/>
      </a:accent2>
      <a:accent3>
        <a:srgbClr val="3C3C3C"/>
      </a:accent3>
      <a:accent4>
        <a:srgbClr val="00B0F0"/>
      </a:accent4>
      <a:accent5>
        <a:srgbClr val="FF564E"/>
      </a:accent5>
      <a:accent6>
        <a:srgbClr val="FFC000"/>
      </a:accent6>
      <a:hlink>
        <a:srgbClr val="DDC8B7"/>
      </a:hlink>
      <a:folHlink>
        <a:srgbClr val="00B0F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FFC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noAutofit/>
      </a:bodyPr>
      <a:lstStyle>
        <a:defPPr algn="l">
          <a:defRPr sz="1600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Motorola">
  <a:themeElements>
    <a:clrScheme name="Strategy-8_2020">
      <a:dk1>
        <a:srgbClr val="FFFFFF"/>
      </a:dk1>
      <a:lt1>
        <a:srgbClr val="001428"/>
      </a:lt1>
      <a:dk2>
        <a:srgbClr val="FFFFFF"/>
      </a:dk2>
      <a:lt2>
        <a:srgbClr val="001428"/>
      </a:lt2>
      <a:accent1>
        <a:srgbClr val="F2F2F2"/>
      </a:accent1>
      <a:accent2>
        <a:srgbClr val="B5B5B5"/>
      </a:accent2>
      <a:accent3>
        <a:srgbClr val="3C3C3C"/>
      </a:accent3>
      <a:accent4>
        <a:srgbClr val="00B0F0"/>
      </a:accent4>
      <a:accent5>
        <a:srgbClr val="FF564E"/>
      </a:accent5>
      <a:accent6>
        <a:srgbClr val="FFC000"/>
      </a:accent6>
      <a:hlink>
        <a:srgbClr val="DDC8B7"/>
      </a:hlink>
      <a:folHlink>
        <a:srgbClr val="00B0F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FFC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noAutofit/>
      </a:bodyPr>
      <a:lstStyle>
        <a:defPPr algn="l">
          <a:defRPr sz="1600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807</TotalTime>
  <Words>420</Words>
  <Application>Microsoft Office PowerPoint</Application>
  <PresentationFormat>自定义</PresentationFormat>
  <Paragraphs>195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Montserrat</vt:lpstr>
      <vt:lpstr>Montserrat Light</vt:lpstr>
      <vt:lpstr>黑体</vt:lpstr>
      <vt:lpstr>Arial</vt:lpstr>
      <vt:lpstr>Wingdings</vt:lpstr>
      <vt:lpstr>Motorola</vt:lpstr>
      <vt:lpstr>Lenovo+Moto</vt:lpstr>
      <vt:lpstr>Lenovo Master</vt:lpstr>
      <vt:lpstr>1_Motorola</vt:lpstr>
      <vt:lpstr>2_Motorola</vt:lpstr>
      <vt:lpstr>think-cell Slide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TOROLA TEMPLATE    2020 - 2021</dc:title>
  <dc:creator>Sudhir Chadaga</dc:creator>
  <cp:lastModifiedBy>Qiang Qiang24 Wang</cp:lastModifiedBy>
  <cp:revision>514</cp:revision>
  <dcterms:modified xsi:type="dcterms:W3CDTF">2022-04-12T07:33:22Z</dcterms:modified>
</cp:coreProperties>
</file>